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9.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Ex1.xml" ContentType="application/vnd.ms-office.chartex+xml"/>
  <Override PartName="/ppt/charts/style15.xml" ContentType="application/vnd.ms-office.chartstyle+xml"/>
  <Override PartName="/ppt/charts/colors15.xml" ContentType="application/vnd.ms-office.chartcolorstyle+xml"/>
  <Override PartName="/ppt/notesSlides/notesSlide20.xml" ContentType="application/vnd.openxmlformats-officedocument.presentationml.notesSlide+xml"/>
  <Override PartName="/ppt/charts/chartEx2.xml" ContentType="application/vnd.ms-office.chartex+xml"/>
  <Override PartName="/ppt/charts/style16.xml" ContentType="application/vnd.ms-office.chartstyle+xml"/>
  <Override PartName="/ppt/charts/colors16.xml" ContentType="application/vnd.ms-office.chartcolorstyle+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1.xml" ContentType="application/vnd.openxmlformats-officedocument.presentationml.notesSlid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2.xml" ContentType="application/vnd.openxmlformats-officedocument.presentationml.notesSlide+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28.xml" ContentType="application/vnd.openxmlformats-officedocument.presentationml.notesSlide+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38.xml" ContentType="application/vnd.openxmlformats-officedocument.presentationml.tags+xml"/>
  <Override PartName="/ppt/notesSlides/notesSlide3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7.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38.xml" ContentType="application/vnd.openxmlformats-officedocument.presentationml.notesSlid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56.xml" ContentType="application/vnd.openxmlformats-officedocument.presentationml.tags+xml"/>
  <Override PartName="/ppt/notesSlides/notesSlide39.xml" ContentType="application/vnd.openxmlformats-officedocument.presentationml.notesSlide+xml"/>
  <Override PartName="/ppt/tags/tag57.xml" ContentType="application/vnd.openxmlformats-officedocument.presentationml.tags+xml"/>
  <Override PartName="/ppt/notesSlides/notesSlide4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41.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3"/>
  </p:notesMasterIdLst>
  <p:handoutMasterIdLst>
    <p:handoutMasterId r:id="rId64"/>
  </p:handoutMasterIdLst>
  <p:sldIdLst>
    <p:sldId id="331" r:id="rId5"/>
    <p:sldId id="402" r:id="rId6"/>
    <p:sldId id="358" r:id="rId7"/>
    <p:sldId id="359" r:id="rId8"/>
    <p:sldId id="9291" r:id="rId9"/>
    <p:sldId id="390" r:id="rId10"/>
    <p:sldId id="412" r:id="rId11"/>
    <p:sldId id="413" r:id="rId12"/>
    <p:sldId id="411" r:id="rId13"/>
    <p:sldId id="409" r:id="rId14"/>
    <p:sldId id="410" r:id="rId15"/>
    <p:sldId id="417" r:id="rId16"/>
    <p:sldId id="418" r:id="rId17"/>
    <p:sldId id="419" r:id="rId18"/>
    <p:sldId id="423" r:id="rId19"/>
    <p:sldId id="404" r:id="rId20"/>
    <p:sldId id="2147483620" r:id="rId21"/>
    <p:sldId id="339" r:id="rId22"/>
    <p:sldId id="427" r:id="rId23"/>
    <p:sldId id="430" r:id="rId24"/>
    <p:sldId id="408" r:id="rId25"/>
    <p:sldId id="426" r:id="rId26"/>
    <p:sldId id="416" r:id="rId27"/>
    <p:sldId id="403" r:id="rId28"/>
    <p:sldId id="407" r:id="rId29"/>
    <p:sldId id="9288" r:id="rId30"/>
    <p:sldId id="2147483621" r:id="rId31"/>
    <p:sldId id="415" r:id="rId32"/>
    <p:sldId id="421" r:id="rId33"/>
    <p:sldId id="2147483623" r:id="rId34"/>
    <p:sldId id="424" r:id="rId35"/>
    <p:sldId id="431" r:id="rId36"/>
    <p:sldId id="9290" r:id="rId37"/>
    <p:sldId id="9287" r:id="rId38"/>
    <p:sldId id="2147483528" r:id="rId39"/>
    <p:sldId id="261" r:id="rId40"/>
    <p:sldId id="273" r:id="rId41"/>
    <p:sldId id="2147483617" r:id="rId42"/>
    <p:sldId id="2147483417" r:id="rId43"/>
    <p:sldId id="2147483546" r:id="rId44"/>
    <p:sldId id="2147483618" r:id="rId45"/>
    <p:sldId id="9269" r:id="rId46"/>
    <p:sldId id="9270" r:id="rId47"/>
    <p:sldId id="9271" r:id="rId48"/>
    <p:sldId id="9272" r:id="rId49"/>
    <p:sldId id="9273" r:id="rId50"/>
    <p:sldId id="9274" r:id="rId51"/>
    <p:sldId id="9277" r:id="rId52"/>
    <p:sldId id="9275" r:id="rId53"/>
    <p:sldId id="9278" r:id="rId54"/>
    <p:sldId id="9279" r:id="rId55"/>
    <p:sldId id="9280" r:id="rId56"/>
    <p:sldId id="9281" r:id="rId57"/>
    <p:sldId id="9282" r:id="rId58"/>
    <p:sldId id="9283" r:id="rId59"/>
    <p:sldId id="9284" r:id="rId60"/>
    <p:sldId id="9285" r:id="rId61"/>
    <p:sldId id="357" r:id="rId62"/>
  </p:sldIdLst>
  <p:sldSz cx="12192000" cy="6858000"/>
  <p:notesSz cx="9296400" cy="70104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53" userDrawn="1">
          <p15:clr>
            <a:srgbClr val="A4A3A4"/>
          </p15:clr>
        </p15:guide>
        <p15:guide id="2" pos="3727" userDrawn="1">
          <p15:clr>
            <a:srgbClr val="A4A3A4"/>
          </p15:clr>
        </p15:guide>
        <p15:guide id="3" pos="279" userDrawn="1">
          <p15:clr>
            <a:srgbClr val="A4A3A4"/>
          </p15:clr>
        </p15:guide>
        <p15:guide id="4" pos="7401" userDrawn="1">
          <p15:clr>
            <a:srgbClr val="A4A3A4"/>
          </p15:clr>
        </p15:guide>
        <p15:guide id="5" orient="horz" pos="1185" userDrawn="1">
          <p15:clr>
            <a:srgbClr val="A4A3A4"/>
          </p15:clr>
        </p15:guide>
        <p15:guide id="6" orient="horz" pos="370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57578-5058-5DB8-74E5-303BD1BFE918}" name="Georgia Giannakidou" initials="GG" userId="S::g.giannakidou@haee.gr::ad8be399-6ed4-4a5e-9fbb-4de190b4709c" providerId="AD"/>
  <p188:author id="{5DABF4A4-7F05-E3D5-7590-7A44CEB2DDF4}" name="Eleni Ntemou" initials="" userId="S::e.ntemou@haee.gr::47d0fac9-7e29-4eb9-8125-8aa0f05d2f5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FFFF00"/>
    <a:srgbClr val="007CB0"/>
    <a:srgbClr val="03C3F8"/>
    <a:srgbClr val="50E69B"/>
    <a:srgbClr val="0F55F5"/>
    <a:srgbClr val="9C0052"/>
    <a:srgbClr val="1F6F9B"/>
    <a:srgbClr val="D5E2FF"/>
    <a:srgbClr val="0032A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8C9EB4-702B-472F-98D0-40DBFD0B9500}" v="787" dt="2025-06-06T07:13:02.625"/>
    <p1510:client id="{9BE9A3FF-B6F1-4E53-A4B6-7AB372F49B09}" v="1279" dt="2025-06-06T07:12:11.4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953"/>
        <p:guide pos="3727"/>
        <p:guide pos="279"/>
        <p:guide pos="7401"/>
        <p:guide orient="horz" pos="1185"/>
        <p:guide orient="horz" pos="370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rgia Giannakidou" userId="ad8be399-6ed4-4a5e-9fbb-4de190b4709c" providerId="ADAL" clId="{778C9EB4-702B-472F-98D0-40DBFD0B9500}"/>
    <pc:docChg chg="undo custSel addSld delSld modSld sldOrd">
      <pc:chgData name="Georgia Giannakidou" userId="ad8be399-6ed4-4a5e-9fbb-4de190b4709c" providerId="ADAL" clId="{778C9EB4-702B-472F-98D0-40DBFD0B9500}" dt="2025-06-06T07:13:02.625" v="786" actId="14100"/>
      <pc:docMkLst>
        <pc:docMk/>
      </pc:docMkLst>
      <pc:sldChg chg="delSp modSp mod">
        <pc:chgData name="Georgia Giannakidou" userId="ad8be399-6ed4-4a5e-9fbb-4de190b4709c" providerId="ADAL" clId="{778C9EB4-702B-472F-98D0-40DBFD0B9500}" dt="2025-06-06T07:02:33.622" v="661" actId="1076"/>
        <pc:sldMkLst>
          <pc:docMk/>
          <pc:sldMk cId="3792018806" sldId="339"/>
        </pc:sldMkLst>
        <pc:spChg chg="mod">
          <ac:chgData name="Georgia Giannakidou" userId="ad8be399-6ed4-4a5e-9fbb-4de190b4709c" providerId="ADAL" clId="{778C9EB4-702B-472F-98D0-40DBFD0B9500}" dt="2025-06-06T07:02:33.622" v="661" actId="1076"/>
          <ac:spMkLst>
            <pc:docMk/>
            <pc:sldMk cId="3792018806" sldId="339"/>
            <ac:spMk id="11" creationId="{0164F4EB-5BC0-CD0A-5A59-5FABAD9D6423}"/>
          </ac:spMkLst>
        </pc:spChg>
        <pc:spChg chg="mod">
          <ac:chgData name="Georgia Giannakidou" userId="ad8be399-6ed4-4a5e-9fbb-4de190b4709c" providerId="ADAL" clId="{778C9EB4-702B-472F-98D0-40DBFD0B9500}" dt="2025-06-06T07:02:23.265" v="660" actId="1076"/>
          <ac:spMkLst>
            <pc:docMk/>
            <pc:sldMk cId="3792018806" sldId="339"/>
            <ac:spMk id="13" creationId="{A052F66E-53B1-7555-8F8C-FF7EF74BC7A0}"/>
          </ac:spMkLst>
        </pc:spChg>
        <pc:spChg chg="del">
          <ac:chgData name="Georgia Giannakidou" userId="ad8be399-6ed4-4a5e-9fbb-4de190b4709c" providerId="ADAL" clId="{778C9EB4-702B-472F-98D0-40DBFD0B9500}" dt="2025-06-06T06:59:54.936" v="610" actId="478"/>
          <ac:spMkLst>
            <pc:docMk/>
            <pc:sldMk cId="3792018806" sldId="339"/>
            <ac:spMk id="27" creationId="{487D8E34-4009-E7F2-5BE0-1BF63122F8F3}"/>
          </ac:spMkLst>
        </pc:spChg>
        <pc:graphicFrameChg chg="del">
          <ac:chgData name="Georgia Giannakidou" userId="ad8be399-6ed4-4a5e-9fbb-4de190b4709c" providerId="ADAL" clId="{778C9EB4-702B-472F-98D0-40DBFD0B9500}" dt="2025-06-06T06:59:52.932" v="609" actId="478"/>
          <ac:graphicFrameMkLst>
            <pc:docMk/>
            <pc:sldMk cId="3792018806" sldId="339"/>
            <ac:graphicFrameMk id="3" creationId="{FD1FED60-B5A0-866D-CE41-B5DBD5C425F7}"/>
          </ac:graphicFrameMkLst>
        </pc:graphicFrameChg>
        <pc:graphicFrameChg chg="mod">
          <ac:chgData name="Georgia Giannakidou" userId="ad8be399-6ed4-4a5e-9fbb-4de190b4709c" providerId="ADAL" clId="{778C9EB4-702B-472F-98D0-40DBFD0B9500}" dt="2025-06-06T07:02:15.929" v="659" actId="14100"/>
          <ac:graphicFrameMkLst>
            <pc:docMk/>
            <pc:sldMk cId="3792018806" sldId="339"/>
            <ac:graphicFrameMk id="10" creationId="{5DD5FC80-A216-D983-2467-2D8A3FCF1A1E}"/>
          </ac:graphicFrameMkLst>
        </pc:graphicFrameChg>
        <pc:graphicFrameChg chg="mod">
          <ac:chgData name="Georgia Giannakidou" userId="ad8be399-6ed4-4a5e-9fbb-4de190b4709c" providerId="ADAL" clId="{778C9EB4-702B-472F-98D0-40DBFD0B9500}" dt="2025-06-06T07:00:02.172" v="612" actId="1076"/>
          <ac:graphicFrameMkLst>
            <pc:docMk/>
            <pc:sldMk cId="3792018806" sldId="339"/>
            <ac:graphicFrameMk id="14" creationId="{9BDBD869-8C71-E6D8-EB90-F68331B1FBA0}"/>
          </ac:graphicFrameMkLst>
        </pc:graphicFrameChg>
      </pc:sldChg>
      <pc:sldChg chg="addSp modSp mod">
        <pc:chgData name="Georgia Giannakidou" userId="ad8be399-6ed4-4a5e-9fbb-4de190b4709c" providerId="ADAL" clId="{778C9EB4-702B-472F-98D0-40DBFD0B9500}" dt="2025-06-06T06:45:55.921" v="186" actId="1036"/>
        <pc:sldMkLst>
          <pc:docMk/>
          <pc:sldMk cId="1128318824" sldId="403"/>
        </pc:sldMkLst>
        <pc:spChg chg="add mod">
          <ac:chgData name="Georgia Giannakidou" userId="ad8be399-6ed4-4a5e-9fbb-4de190b4709c" providerId="ADAL" clId="{778C9EB4-702B-472F-98D0-40DBFD0B9500}" dt="2025-06-06T06:45:37.236" v="170" actId="1036"/>
          <ac:spMkLst>
            <pc:docMk/>
            <pc:sldMk cId="1128318824" sldId="403"/>
            <ac:spMk id="4" creationId="{D72385AE-2472-3045-888C-2AB19E88CBD9}"/>
          </ac:spMkLst>
        </pc:spChg>
        <pc:spChg chg="mod">
          <ac:chgData name="Georgia Giannakidou" userId="ad8be399-6ed4-4a5e-9fbb-4de190b4709c" providerId="ADAL" clId="{778C9EB4-702B-472F-98D0-40DBFD0B9500}" dt="2025-06-06T06:45:49.991" v="180" actId="1036"/>
          <ac:spMkLst>
            <pc:docMk/>
            <pc:sldMk cId="1128318824" sldId="403"/>
            <ac:spMk id="11" creationId="{B192796C-ABC8-5841-927A-B9F583C9A6E8}"/>
          </ac:spMkLst>
        </pc:spChg>
        <pc:spChg chg="mod">
          <ac:chgData name="Georgia Giannakidou" userId="ad8be399-6ed4-4a5e-9fbb-4de190b4709c" providerId="ADAL" clId="{778C9EB4-702B-472F-98D0-40DBFD0B9500}" dt="2025-06-06T06:45:55.921" v="186" actId="1036"/>
          <ac:spMkLst>
            <pc:docMk/>
            <pc:sldMk cId="1128318824" sldId="403"/>
            <ac:spMk id="15" creationId="{9111EEEA-9C57-45FE-C349-366D084F745B}"/>
          </ac:spMkLst>
        </pc:spChg>
        <pc:graphicFrameChg chg="mod">
          <ac:chgData name="Georgia Giannakidou" userId="ad8be399-6ed4-4a5e-9fbb-4de190b4709c" providerId="ADAL" clId="{778C9EB4-702B-472F-98D0-40DBFD0B9500}" dt="2025-06-06T06:45:44.472" v="171" actId="14100"/>
          <ac:graphicFrameMkLst>
            <pc:docMk/>
            <pc:sldMk cId="1128318824" sldId="403"/>
            <ac:graphicFrameMk id="2" creationId="{56475DD0-D5E5-2B91-BEC0-E50DC07F770C}"/>
          </ac:graphicFrameMkLst>
        </pc:graphicFrameChg>
        <pc:graphicFrameChg chg="add mod">
          <ac:chgData name="Georgia Giannakidou" userId="ad8be399-6ed4-4a5e-9fbb-4de190b4709c" providerId="ADAL" clId="{778C9EB4-702B-472F-98D0-40DBFD0B9500}" dt="2025-06-06T06:45:29.732" v="155" actId="14100"/>
          <ac:graphicFrameMkLst>
            <pc:docMk/>
            <pc:sldMk cId="1128318824" sldId="403"/>
            <ac:graphicFrameMk id="3" creationId="{3DA11CD7-2F03-1E65-FDC1-D5B5539937D1}"/>
          </ac:graphicFrameMkLst>
        </pc:graphicFrameChg>
      </pc:sldChg>
      <pc:sldChg chg="modSp del mod">
        <pc:chgData name="Georgia Giannakidou" userId="ad8be399-6ed4-4a5e-9fbb-4de190b4709c" providerId="ADAL" clId="{778C9EB4-702B-472F-98D0-40DBFD0B9500}" dt="2025-06-06T06:46:07.660" v="187" actId="47"/>
        <pc:sldMkLst>
          <pc:docMk/>
          <pc:sldMk cId="1992099247" sldId="405"/>
        </pc:sldMkLst>
        <pc:spChg chg="mod">
          <ac:chgData name="Georgia Giannakidou" userId="ad8be399-6ed4-4a5e-9fbb-4de190b4709c" providerId="ADAL" clId="{778C9EB4-702B-472F-98D0-40DBFD0B9500}" dt="2025-06-06T06:41:23.339" v="112" actId="20577"/>
          <ac:spMkLst>
            <pc:docMk/>
            <pc:sldMk cId="1992099247" sldId="405"/>
            <ac:spMk id="6" creationId="{62DDE6F3-AA20-2464-55FD-BCFB359B6AE4}"/>
          </ac:spMkLst>
        </pc:spChg>
      </pc:sldChg>
      <pc:sldChg chg="del">
        <pc:chgData name="Georgia Giannakidou" userId="ad8be399-6ed4-4a5e-9fbb-4de190b4709c" providerId="ADAL" clId="{778C9EB4-702B-472F-98D0-40DBFD0B9500}" dt="2025-06-06T06:18:21.408" v="3" actId="47"/>
        <pc:sldMkLst>
          <pc:docMk/>
          <pc:sldMk cId="1352201521" sldId="406"/>
        </pc:sldMkLst>
      </pc:sldChg>
      <pc:sldChg chg="addSp delSp modSp mod">
        <pc:chgData name="Georgia Giannakidou" userId="ad8be399-6ed4-4a5e-9fbb-4de190b4709c" providerId="ADAL" clId="{778C9EB4-702B-472F-98D0-40DBFD0B9500}" dt="2025-06-06T07:11:29.540" v="783" actId="20577"/>
        <pc:sldMkLst>
          <pc:docMk/>
          <pc:sldMk cId="25564932" sldId="408"/>
        </pc:sldMkLst>
        <pc:spChg chg="del mod">
          <ac:chgData name="Georgia Giannakidou" userId="ad8be399-6ed4-4a5e-9fbb-4de190b4709c" providerId="ADAL" clId="{778C9EB4-702B-472F-98D0-40DBFD0B9500}" dt="2025-06-06T07:10:52.241" v="731" actId="478"/>
          <ac:spMkLst>
            <pc:docMk/>
            <pc:sldMk cId="25564932" sldId="408"/>
            <ac:spMk id="6" creationId="{B2253834-E072-9106-F685-53C4A3FF31DE}"/>
          </ac:spMkLst>
        </pc:spChg>
        <pc:spChg chg="add mod">
          <ac:chgData name="Georgia Giannakidou" userId="ad8be399-6ed4-4a5e-9fbb-4de190b4709c" providerId="ADAL" clId="{778C9EB4-702B-472F-98D0-40DBFD0B9500}" dt="2025-06-06T07:11:02.862" v="733" actId="1076"/>
          <ac:spMkLst>
            <pc:docMk/>
            <pc:sldMk cId="25564932" sldId="408"/>
            <ac:spMk id="7" creationId="{7D45458E-92A3-8BBC-3622-F0E7C05BB3F7}"/>
          </ac:spMkLst>
        </pc:spChg>
        <pc:spChg chg="add mod">
          <ac:chgData name="Georgia Giannakidou" userId="ad8be399-6ed4-4a5e-9fbb-4de190b4709c" providerId="ADAL" clId="{778C9EB4-702B-472F-98D0-40DBFD0B9500}" dt="2025-06-06T07:10:57.342" v="732" actId="1076"/>
          <ac:spMkLst>
            <pc:docMk/>
            <pc:sldMk cId="25564932" sldId="408"/>
            <ac:spMk id="8" creationId="{9C6DB2A0-BED9-E73A-CBA8-D2282597AA54}"/>
          </ac:spMkLst>
        </pc:spChg>
        <pc:spChg chg="add mod">
          <ac:chgData name="Georgia Giannakidou" userId="ad8be399-6ed4-4a5e-9fbb-4de190b4709c" providerId="ADAL" clId="{778C9EB4-702B-472F-98D0-40DBFD0B9500}" dt="2025-06-06T07:11:29.540" v="783" actId="20577"/>
          <ac:spMkLst>
            <pc:docMk/>
            <pc:sldMk cId="25564932" sldId="408"/>
            <ac:spMk id="9" creationId="{291A746F-DFD6-C6DA-08A6-4AEA70DDD1F6}"/>
          </ac:spMkLst>
        </pc:spChg>
        <pc:graphicFrameChg chg="mod">
          <ac:chgData name="Georgia Giannakidou" userId="ad8be399-6ed4-4a5e-9fbb-4de190b4709c" providerId="ADAL" clId="{778C9EB4-702B-472F-98D0-40DBFD0B9500}" dt="2025-06-06T07:10:13.905" v="721" actId="1076"/>
          <ac:graphicFrameMkLst>
            <pc:docMk/>
            <pc:sldMk cId="25564932" sldId="408"/>
            <ac:graphicFrameMk id="3" creationId="{CA53B8A9-3EE1-EA3B-E424-5459B9EBD246}"/>
          </ac:graphicFrameMkLst>
        </pc:graphicFrameChg>
        <pc:picChg chg="add mod">
          <ac:chgData name="Georgia Giannakidou" userId="ad8be399-6ed4-4a5e-9fbb-4de190b4709c" providerId="ADAL" clId="{778C9EB4-702B-472F-98D0-40DBFD0B9500}" dt="2025-06-06T07:11:05.818" v="734" actId="1076"/>
          <ac:picMkLst>
            <pc:docMk/>
            <pc:sldMk cId="25564932" sldId="408"/>
            <ac:picMk id="2" creationId="{A313E96D-A91C-20B4-29FD-B9C44736BCA5}"/>
          </ac:picMkLst>
        </pc:picChg>
      </pc:sldChg>
      <pc:sldChg chg="delSp modSp mod">
        <pc:chgData name="Georgia Giannakidou" userId="ad8be399-6ed4-4a5e-9fbb-4de190b4709c" providerId="ADAL" clId="{778C9EB4-702B-472F-98D0-40DBFD0B9500}" dt="2025-06-06T06:17:49.417" v="2" actId="20577"/>
        <pc:sldMkLst>
          <pc:docMk/>
          <pc:sldMk cId="3646762099" sldId="409"/>
        </pc:sldMkLst>
        <pc:spChg chg="del">
          <ac:chgData name="Georgia Giannakidou" userId="ad8be399-6ed4-4a5e-9fbb-4de190b4709c" providerId="ADAL" clId="{778C9EB4-702B-472F-98D0-40DBFD0B9500}" dt="2025-06-06T06:17:43.056" v="0" actId="478"/>
          <ac:spMkLst>
            <pc:docMk/>
            <pc:sldMk cId="3646762099" sldId="409"/>
            <ac:spMk id="24" creationId="{6FD721DC-D5B6-92C9-37B9-95A4AEE58DDE}"/>
          </ac:spMkLst>
        </pc:spChg>
        <pc:spChg chg="mod">
          <ac:chgData name="Georgia Giannakidou" userId="ad8be399-6ed4-4a5e-9fbb-4de190b4709c" providerId="ADAL" clId="{778C9EB4-702B-472F-98D0-40DBFD0B9500}" dt="2025-06-06T06:17:49.417" v="2" actId="20577"/>
          <ac:spMkLst>
            <pc:docMk/>
            <pc:sldMk cId="3646762099" sldId="409"/>
            <ac:spMk id="28" creationId="{1D6DA13C-CD09-1D8D-5476-38E28EDF3461}"/>
          </ac:spMkLst>
        </pc:spChg>
      </pc:sldChg>
      <pc:sldChg chg="modSp del mod ord">
        <pc:chgData name="Georgia Giannakidou" userId="ad8be399-6ed4-4a5e-9fbb-4de190b4709c" providerId="ADAL" clId="{778C9EB4-702B-472F-98D0-40DBFD0B9500}" dt="2025-06-06T06:34:38.046" v="104" actId="47"/>
        <pc:sldMkLst>
          <pc:docMk/>
          <pc:sldMk cId="486760808" sldId="414"/>
        </pc:sldMkLst>
        <pc:spChg chg="mod">
          <ac:chgData name="Georgia Giannakidou" userId="ad8be399-6ed4-4a5e-9fbb-4de190b4709c" providerId="ADAL" clId="{778C9EB4-702B-472F-98D0-40DBFD0B9500}" dt="2025-06-06T06:31:23.986" v="96" actId="20577"/>
          <ac:spMkLst>
            <pc:docMk/>
            <pc:sldMk cId="486760808" sldId="414"/>
            <ac:spMk id="6" creationId="{7EA5CBAC-4F57-B8CB-FA5C-C35FC198A1DB}"/>
          </ac:spMkLst>
        </pc:spChg>
        <pc:graphicFrameChg chg="mod">
          <ac:chgData name="Georgia Giannakidou" userId="ad8be399-6ed4-4a5e-9fbb-4de190b4709c" providerId="ADAL" clId="{778C9EB4-702B-472F-98D0-40DBFD0B9500}" dt="2025-06-06T06:34:05.093" v="99"/>
          <ac:graphicFrameMkLst>
            <pc:docMk/>
            <pc:sldMk cId="486760808" sldId="414"/>
            <ac:graphicFrameMk id="4" creationId="{870B837C-9FC6-0E33-8130-D8167F47EFF5}"/>
          </ac:graphicFrameMkLst>
        </pc:graphicFrameChg>
        <pc:graphicFrameChg chg="mod">
          <ac:chgData name="Georgia Giannakidou" userId="ad8be399-6ed4-4a5e-9fbb-4de190b4709c" providerId="ADAL" clId="{778C9EB4-702B-472F-98D0-40DBFD0B9500}" dt="2025-06-06T06:34:27.589" v="103" actId="14100"/>
          <ac:graphicFrameMkLst>
            <pc:docMk/>
            <pc:sldMk cId="486760808" sldId="414"/>
            <ac:graphicFrameMk id="7" creationId="{F62106EB-6300-3366-CCB6-6D32FC8C01C6}"/>
          </ac:graphicFrameMkLst>
        </pc:graphicFrameChg>
      </pc:sldChg>
      <pc:sldChg chg="delSp modSp mod">
        <pc:chgData name="Georgia Giannakidou" userId="ad8be399-6ed4-4a5e-9fbb-4de190b4709c" providerId="ADAL" clId="{778C9EB4-702B-472F-98D0-40DBFD0B9500}" dt="2025-06-06T07:00:52.963" v="617" actId="12"/>
        <pc:sldMkLst>
          <pc:docMk/>
          <pc:sldMk cId="2994244721" sldId="415"/>
        </pc:sldMkLst>
        <pc:spChg chg="mod">
          <ac:chgData name="Georgia Giannakidou" userId="ad8be399-6ed4-4a5e-9fbb-4de190b4709c" providerId="ADAL" clId="{778C9EB4-702B-472F-98D0-40DBFD0B9500}" dt="2025-06-06T06:51:24.738" v="332" actId="20577"/>
          <ac:spMkLst>
            <pc:docMk/>
            <pc:sldMk cId="2994244721" sldId="415"/>
            <ac:spMk id="6" creationId="{CB6E22B3-D34B-9A81-DE24-48B4B52FD694}"/>
          </ac:spMkLst>
        </pc:spChg>
        <pc:spChg chg="mod">
          <ac:chgData name="Georgia Giannakidou" userId="ad8be399-6ed4-4a5e-9fbb-4de190b4709c" providerId="ADAL" clId="{778C9EB4-702B-472F-98D0-40DBFD0B9500}" dt="2025-06-06T06:52:18.602" v="388" actId="1076"/>
          <ac:spMkLst>
            <pc:docMk/>
            <pc:sldMk cId="2994244721" sldId="415"/>
            <ac:spMk id="55" creationId="{110FDCB7-6D7D-5D36-6228-7D315C033733}"/>
          </ac:spMkLst>
        </pc:spChg>
        <pc:spChg chg="mod">
          <ac:chgData name="Georgia Giannakidou" userId="ad8be399-6ed4-4a5e-9fbb-4de190b4709c" providerId="ADAL" clId="{778C9EB4-702B-472F-98D0-40DBFD0B9500}" dt="2025-06-06T07:00:52.963" v="617" actId="12"/>
          <ac:spMkLst>
            <pc:docMk/>
            <pc:sldMk cId="2994244721" sldId="415"/>
            <ac:spMk id="57" creationId="{D90CBE42-A42C-0CA0-C9B0-228AD64F5C8C}"/>
          </ac:spMkLst>
        </pc:spChg>
        <pc:spChg chg="mod">
          <ac:chgData name="Georgia Giannakidou" userId="ad8be399-6ed4-4a5e-9fbb-4de190b4709c" providerId="ADAL" clId="{778C9EB4-702B-472F-98D0-40DBFD0B9500}" dt="2025-06-06T06:51:35.271" v="380" actId="1035"/>
          <ac:spMkLst>
            <pc:docMk/>
            <pc:sldMk cId="2994244721" sldId="415"/>
            <ac:spMk id="58" creationId="{A73C9265-B798-D9DC-3C2D-30F1477EDE0C}"/>
          </ac:spMkLst>
        </pc:spChg>
        <pc:grpChg chg="del">
          <ac:chgData name="Georgia Giannakidou" userId="ad8be399-6ed4-4a5e-9fbb-4de190b4709c" providerId="ADAL" clId="{778C9EB4-702B-472F-98D0-40DBFD0B9500}" dt="2025-06-06T06:50:41.347" v="265" actId="478"/>
          <ac:grpSpMkLst>
            <pc:docMk/>
            <pc:sldMk cId="2994244721" sldId="415"/>
            <ac:grpSpMk id="5" creationId="{53A90072-D262-E5B3-E5B4-39DB6CC5B500}"/>
          </ac:grpSpMkLst>
        </pc:grpChg>
        <pc:graphicFrameChg chg="mod">
          <ac:chgData name="Georgia Giannakidou" userId="ad8be399-6ed4-4a5e-9fbb-4de190b4709c" providerId="ADAL" clId="{778C9EB4-702B-472F-98D0-40DBFD0B9500}" dt="2025-06-06T06:51:35.271" v="380" actId="1035"/>
          <ac:graphicFrameMkLst>
            <pc:docMk/>
            <pc:sldMk cId="2994244721" sldId="415"/>
            <ac:graphicFrameMk id="56" creationId="{E035A32B-9ACA-644A-A679-6FF47FD177F2}"/>
          </ac:graphicFrameMkLst>
        </pc:graphicFrameChg>
      </pc:sldChg>
      <pc:sldChg chg="del">
        <pc:chgData name="Georgia Giannakidou" userId="ad8be399-6ed4-4a5e-9fbb-4de190b4709c" providerId="ADAL" clId="{778C9EB4-702B-472F-98D0-40DBFD0B9500}" dt="2025-06-06T06:57:01.325" v="528" actId="47"/>
        <pc:sldMkLst>
          <pc:docMk/>
          <pc:sldMk cId="3407725128" sldId="420"/>
        </pc:sldMkLst>
      </pc:sldChg>
      <pc:sldChg chg="delSp modSp mod">
        <pc:chgData name="Georgia Giannakidou" userId="ad8be399-6ed4-4a5e-9fbb-4de190b4709c" providerId="ADAL" clId="{778C9EB4-702B-472F-98D0-40DBFD0B9500}" dt="2025-06-06T06:55:44.790" v="456" actId="12"/>
        <pc:sldMkLst>
          <pc:docMk/>
          <pc:sldMk cId="752467522" sldId="421"/>
        </pc:sldMkLst>
        <pc:spChg chg="del">
          <ac:chgData name="Georgia Giannakidou" userId="ad8be399-6ed4-4a5e-9fbb-4de190b4709c" providerId="ADAL" clId="{778C9EB4-702B-472F-98D0-40DBFD0B9500}" dt="2025-06-06T06:52:31.781" v="389" actId="478"/>
          <ac:spMkLst>
            <pc:docMk/>
            <pc:sldMk cId="752467522" sldId="421"/>
            <ac:spMk id="2" creationId="{CCB1E1E2-ABF5-AD03-1B92-6626B2579EEA}"/>
          </ac:spMkLst>
        </pc:spChg>
        <pc:spChg chg="del">
          <ac:chgData name="Georgia Giannakidou" userId="ad8be399-6ed4-4a5e-9fbb-4de190b4709c" providerId="ADAL" clId="{778C9EB4-702B-472F-98D0-40DBFD0B9500}" dt="2025-06-06T06:52:31.781" v="389" actId="478"/>
          <ac:spMkLst>
            <pc:docMk/>
            <pc:sldMk cId="752467522" sldId="421"/>
            <ac:spMk id="3" creationId="{51F8C3A9-9134-AC39-CFEB-82A65D440DD9}"/>
          </ac:spMkLst>
        </pc:spChg>
        <pc:spChg chg="mod">
          <ac:chgData name="Georgia Giannakidou" userId="ad8be399-6ed4-4a5e-9fbb-4de190b4709c" providerId="ADAL" clId="{778C9EB4-702B-472F-98D0-40DBFD0B9500}" dt="2025-06-06T06:53:16.411" v="446" actId="20577"/>
          <ac:spMkLst>
            <pc:docMk/>
            <pc:sldMk cId="752467522" sldId="421"/>
            <ac:spMk id="6" creationId="{C96D3303-853E-CCFA-F38A-8ECE3EE7FCED}"/>
          </ac:spMkLst>
        </pc:spChg>
        <pc:spChg chg="del">
          <ac:chgData name="Georgia Giannakidou" userId="ad8be399-6ed4-4a5e-9fbb-4de190b4709c" providerId="ADAL" clId="{778C9EB4-702B-472F-98D0-40DBFD0B9500}" dt="2025-06-06T06:52:31.781" v="389" actId="478"/>
          <ac:spMkLst>
            <pc:docMk/>
            <pc:sldMk cId="752467522" sldId="421"/>
            <ac:spMk id="41" creationId="{9F8C47EF-9F5A-141D-41A3-9DB038E53895}"/>
          </ac:spMkLst>
        </pc:spChg>
        <pc:spChg chg="del">
          <ac:chgData name="Georgia Giannakidou" userId="ad8be399-6ed4-4a5e-9fbb-4de190b4709c" providerId="ADAL" clId="{778C9EB4-702B-472F-98D0-40DBFD0B9500}" dt="2025-06-06T06:52:31.781" v="389" actId="478"/>
          <ac:spMkLst>
            <pc:docMk/>
            <pc:sldMk cId="752467522" sldId="421"/>
            <ac:spMk id="42" creationId="{90310C4A-3991-0937-B2FA-81337BA9BACE}"/>
          </ac:spMkLst>
        </pc:spChg>
        <pc:spChg chg="del">
          <ac:chgData name="Georgia Giannakidou" userId="ad8be399-6ed4-4a5e-9fbb-4de190b4709c" providerId="ADAL" clId="{778C9EB4-702B-472F-98D0-40DBFD0B9500}" dt="2025-06-06T06:52:31.781" v="389" actId="478"/>
          <ac:spMkLst>
            <pc:docMk/>
            <pc:sldMk cId="752467522" sldId="421"/>
            <ac:spMk id="44" creationId="{E35D4706-0395-4255-3469-B5B6B02DE264}"/>
          </ac:spMkLst>
        </pc:spChg>
        <pc:spChg chg="del">
          <ac:chgData name="Georgia Giannakidou" userId="ad8be399-6ed4-4a5e-9fbb-4de190b4709c" providerId="ADAL" clId="{778C9EB4-702B-472F-98D0-40DBFD0B9500}" dt="2025-06-06T06:52:31.781" v="389" actId="478"/>
          <ac:spMkLst>
            <pc:docMk/>
            <pc:sldMk cId="752467522" sldId="421"/>
            <ac:spMk id="53" creationId="{8D6BAF66-FF20-2001-1AD0-45AD9A77ED2F}"/>
          </ac:spMkLst>
        </pc:spChg>
        <pc:spChg chg="mod">
          <ac:chgData name="Georgia Giannakidou" userId="ad8be399-6ed4-4a5e-9fbb-4de190b4709c" providerId="ADAL" clId="{778C9EB4-702B-472F-98D0-40DBFD0B9500}" dt="2025-06-06T06:55:44.790" v="456" actId="12"/>
          <ac:spMkLst>
            <pc:docMk/>
            <pc:sldMk cId="752467522" sldId="421"/>
            <ac:spMk id="55" creationId="{E80A686C-D5FE-0689-6CDD-919A3092DF95}"/>
          </ac:spMkLst>
        </pc:spChg>
      </pc:sldChg>
      <pc:sldChg chg="addSp delSp modSp del mod">
        <pc:chgData name="Georgia Giannakidou" userId="ad8be399-6ed4-4a5e-9fbb-4de190b4709c" providerId="ADAL" clId="{778C9EB4-702B-472F-98D0-40DBFD0B9500}" dt="2025-06-06T06:59:29.952" v="607" actId="47"/>
        <pc:sldMkLst>
          <pc:docMk/>
          <pc:sldMk cId="1110358345" sldId="422"/>
        </pc:sldMkLst>
        <pc:spChg chg="del">
          <ac:chgData name="Georgia Giannakidou" userId="ad8be399-6ed4-4a5e-9fbb-4de190b4709c" providerId="ADAL" clId="{778C9EB4-702B-472F-98D0-40DBFD0B9500}" dt="2025-06-06T06:58:06.650" v="558" actId="478"/>
          <ac:spMkLst>
            <pc:docMk/>
            <pc:sldMk cId="1110358345" sldId="422"/>
            <ac:spMk id="2" creationId="{324A29BF-681F-3C31-054A-1510DCA0C8D3}"/>
          </ac:spMkLst>
        </pc:spChg>
        <pc:spChg chg="del">
          <ac:chgData name="Georgia Giannakidou" userId="ad8be399-6ed4-4a5e-9fbb-4de190b4709c" providerId="ADAL" clId="{778C9EB4-702B-472F-98D0-40DBFD0B9500}" dt="2025-06-06T06:58:06.650" v="558" actId="478"/>
          <ac:spMkLst>
            <pc:docMk/>
            <pc:sldMk cId="1110358345" sldId="422"/>
            <ac:spMk id="3" creationId="{5957EA85-B917-0131-94EA-D4469431C683}"/>
          </ac:spMkLst>
        </pc:spChg>
        <pc:spChg chg="del">
          <ac:chgData name="Georgia Giannakidou" userId="ad8be399-6ed4-4a5e-9fbb-4de190b4709c" providerId="ADAL" clId="{778C9EB4-702B-472F-98D0-40DBFD0B9500}" dt="2025-06-06T06:58:06.650" v="558" actId="478"/>
          <ac:spMkLst>
            <pc:docMk/>
            <pc:sldMk cId="1110358345" sldId="422"/>
            <ac:spMk id="5" creationId="{1327E266-0B83-F981-751B-D3BDB25FF677}"/>
          </ac:spMkLst>
        </pc:spChg>
        <pc:spChg chg="del">
          <ac:chgData name="Georgia Giannakidou" userId="ad8be399-6ed4-4a5e-9fbb-4de190b4709c" providerId="ADAL" clId="{778C9EB4-702B-472F-98D0-40DBFD0B9500}" dt="2025-06-06T06:58:06.650" v="558" actId="478"/>
          <ac:spMkLst>
            <pc:docMk/>
            <pc:sldMk cId="1110358345" sldId="422"/>
            <ac:spMk id="6" creationId="{E79796C8-413C-4476-930F-9838C960D4A6}"/>
          </ac:spMkLst>
        </pc:spChg>
        <pc:spChg chg="add mod">
          <ac:chgData name="Georgia Giannakidou" userId="ad8be399-6ed4-4a5e-9fbb-4de190b4709c" providerId="ADAL" clId="{778C9EB4-702B-472F-98D0-40DBFD0B9500}" dt="2025-06-06T06:58:06.650" v="558" actId="478"/>
          <ac:spMkLst>
            <pc:docMk/>
            <pc:sldMk cId="1110358345" sldId="422"/>
            <ac:spMk id="12" creationId="{3BB4828B-4FE5-319B-DC89-41BD97C6E16D}"/>
          </ac:spMkLst>
        </pc:spChg>
        <pc:spChg chg="del">
          <ac:chgData name="Georgia Giannakidou" userId="ad8be399-6ed4-4a5e-9fbb-4de190b4709c" providerId="ADAL" clId="{778C9EB4-702B-472F-98D0-40DBFD0B9500}" dt="2025-06-06T06:58:06.650" v="558" actId="478"/>
          <ac:spMkLst>
            <pc:docMk/>
            <pc:sldMk cId="1110358345" sldId="422"/>
            <ac:spMk id="41" creationId="{3E58F3A9-A5A2-C07F-798A-4D7D5C42BDED}"/>
          </ac:spMkLst>
        </pc:spChg>
        <pc:spChg chg="del">
          <ac:chgData name="Georgia Giannakidou" userId="ad8be399-6ed4-4a5e-9fbb-4de190b4709c" providerId="ADAL" clId="{778C9EB4-702B-472F-98D0-40DBFD0B9500}" dt="2025-06-06T06:58:06.650" v="558" actId="478"/>
          <ac:spMkLst>
            <pc:docMk/>
            <pc:sldMk cId="1110358345" sldId="422"/>
            <ac:spMk id="43" creationId="{B91E8D98-CE7E-F9CA-8BFA-2A5973F43524}"/>
          </ac:spMkLst>
        </pc:spChg>
        <pc:spChg chg="del">
          <ac:chgData name="Georgia Giannakidou" userId="ad8be399-6ed4-4a5e-9fbb-4de190b4709c" providerId="ADAL" clId="{778C9EB4-702B-472F-98D0-40DBFD0B9500}" dt="2025-06-06T06:58:06.650" v="558" actId="478"/>
          <ac:spMkLst>
            <pc:docMk/>
            <pc:sldMk cId="1110358345" sldId="422"/>
            <ac:spMk id="44" creationId="{C8CA0702-B8FE-EE3D-0428-AF083CB5A890}"/>
          </ac:spMkLst>
        </pc:spChg>
        <pc:spChg chg="del">
          <ac:chgData name="Georgia Giannakidou" userId="ad8be399-6ed4-4a5e-9fbb-4de190b4709c" providerId="ADAL" clId="{778C9EB4-702B-472F-98D0-40DBFD0B9500}" dt="2025-06-06T06:58:06.650" v="558" actId="478"/>
          <ac:spMkLst>
            <pc:docMk/>
            <pc:sldMk cId="1110358345" sldId="422"/>
            <ac:spMk id="54" creationId="{6A485AA5-6CAB-CE40-E502-0E7F38D7E4F4}"/>
          </ac:spMkLst>
        </pc:spChg>
      </pc:sldChg>
      <pc:sldChg chg="modSp mod">
        <pc:chgData name="Georgia Giannakidou" userId="ad8be399-6ed4-4a5e-9fbb-4de190b4709c" providerId="ADAL" clId="{778C9EB4-702B-472F-98D0-40DBFD0B9500}" dt="2025-06-06T07:05:28.889" v="709" actId="20577"/>
        <pc:sldMkLst>
          <pc:docMk/>
          <pc:sldMk cId="1312678697" sldId="424"/>
        </pc:sldMkLst>
        <pc:spChg chg="mod">
          <ac:chgData name="Georgia Giannakidou" userId="ad8be399-6ed4-4a5e-9fbb-4de190b4709c" providerId="ADAL" clId="{778C9EB4-702B-472F-98D0-40DBFD0B9500}" dt="2025-06-06T07:03:58.512" v="683" actId="20577"/>
          <ac:spMkLst>
            <pc:docMk/>
            <pc:sldMk cId="1312678697" sldId="424"/>
            <ac:spMk id="3" creationId="{0C182F84-57AA-6177-89EB-8E5A09395902}"/>
          </ac:spMkLst>
        </pc:spChg>
        <pc:spChg chg="mod">
          <ac:chgData name="Georgia Giannakidou" userId="ad8be399-6ed4-4a5e-9fbb-4de190b4709c" providerId="ADAL" clId="{778C9EB4-702B-472F-98D0-40DBFD0B9500}" dt="2025-06-06T07:05:02.516" v="704" actId="20577"/>
          <ac:spMkLst>
            <pc:docMk/>
            <pc:sldMk cId="1312678697" sldId="424"/>
            <ac:spMk id="4" creationId="{26D7CBD3-CDB4-B59B-1A06-3067B9003841}"/>
          </ac:spMkLst>
        </pc:spChg>
        <pc:spChg chg="mod">
          <ac:chgData name="Georgia Giannakidou" userId="ad8be399-6ed4-4a5e-9fbb-4de190b4709c" providerId="ADAL" clId="{778C9EB4-702B-472F-98D0-40DBFD0B9500}" dt="2025-06-06T07:05:28.889" v="709" actId="20577"/>
          <ac:spMkLst>
            <pc:docMk/>
            <pc:sldMk cId="1312678697" sldId="424"/>
            <ac:spMk id="5" creationId="{675484F2-79D7-C1E8-3FA2-DF2B620D58DD}"/>
          </ac:spMkLst>
        </pc:spChg>
      </pc:sldChg>
      <pc:sldChg chg="del">
        <pc:chgData name="Georgia Giannakidou" userId="ad8be399-6ed4-4a5e-9fbb-4de190b4709c" providerId="ADAL" clId="{778C9EB4-702B-472F-98D0-40DBFD0B9500}" dt="2025-06-06T06:24:58.704" v="4" actId="47"/>
        <pc:sldMkLst>
          <pc:docMk/>
          <pc:sldMk cId="2261793867" sldId="425"/>
        </pc:sldMkLst>
      </pc:sldChg>
      <pc:sldChg chg="delSp mod">
        <pc:chgData name="Georgia Giannakidou" userId="ad8be399-6ed4-4a5e-9fbb-4de190b4709c" providerId="ADAL" clId="{778C9EB4-702B-472F-98D0-40DBFD0B9500}" dt="2025-06-06T06:40:25.212" v="106" actId="478"/>
        <pc:sldMkLst>
          <pc:docMk/>
          <pc:sldMk cId="1591414803" sldId="426"/>
        </pc:sldMkLst>
        <pc:spChg chg="del">
          <ac:chgData name="Georgia Giannakidou" userId="ad8be399-6ed4-4a5e-9fbb-4de190b4709c" providerId="ADAL" clId="{778C9EB4-702B-472F-98D0-40DBFD0B9500}" dt="2025-06-06T06:40:25.212" v="106" actId="478"/>
          <ac:spMkLst>
            <pc:docMk/>
            <pc:sldMk cId="1591414803" sldId="426"/>
            <ac:spMk id="29" creationId="{37BD77FC-24A4-6DB6-8A49-5121EC9B838B}"/>
          </ac:spMkLst>
        </pc:spChg>
        <pc:picChg chg="del">
          <ac:chgData name="Georgia Giannakidou" userId="ad8be399-6ed4-4a5e-9fbb-4de190b4709c" providerId="ADAL" clId="{778C9EB4-702B-472F-98D0-40DBFD0B9500}" dt="2025-06-06T06:40:21.084" v="105" actId="478"/>
          <ac:picMkLst>
            <pc:docMk/>
            <pc:sldMk cId="1591414803" sldId="426"/>
            <ac:picMk id="25" creationId="{9E7072EA-FEC3-6075-F281-507D4E282010}"/>
          </ac:picMkLst>
        </pc:picChg>
      </pc:sldChg>
      <pc:sldChg chg="delSp modSp mod">
        <pc:chgData name="Georgia Giannakidou" userId="ad8be399-6ed4-4a5e-9fbb-4de190b4709c" providerId="ADAL" clId="{778C9EB4-702B-472F-98D0-40DBFD0B9500}" dt="2025-06-06T07:13:02.625" v="786" actId="14100"/>
        <pc:sldMkLst>
          <pc:docMk/>
          <pc:sldMk cId="3979248667" sldId="427"/>
        </pc:sldMkLst>
        <pc:spChg chg="del">
          <ac:chgData name="Georgia Giannakidou" userId="ad8be399-6ed4-4a5e-9fbb-4de190b4709c" providerId="ADAL" clId="{778C9EB4-702B-472F-98D0-40DBFD0B9500}" dt="2025-06-06T06:29:32.837" v="24" actId="478"/>
          <ac:spMkLst>
            <pc:docMk/>
            <pc:sldMk cId="3979248667" sldId="427"/>
            <ac:spMk id="4" creationId="{0B7DBA81-2B69-D5D4-562A-8769E1228278}"/>
          </ac:spMkLst>
        </pc:spChg>
        <pc:graphicFrameChg chg="mod">
          <ac:chgData name="Georgia Giannakidou" userId="ad8be399-6ed4-4a5e-9fbb-4de190b4709c" providerId="ADAL" clId="{778C9EB4-702B-472F-98D0-40DBFD0B9500}" dt="2025-06-06T07:13:02.625" v="786" actId="14100"/>
          <ac:graphicFrameMkLst>
            <pc:docMk/>
            <pc:sldMk cId="3979248667" sldId="427"/>
            <ac:graphicFrameMk id="7" creationId="{C6A4F693-8232-9839-C59C-3AF8DD8123DE}"/>
          </ac:graphicFrameMkLst>
        </pc:graphicFrameChg>
        <pc:graphicFrameChg chg="mod">
          <ac:chgData name="Georgia Giannakidou" userId="ad8be399-6ed4-4a5e-9fbb-4de190b4709c" providerId="ADAL" clId="{778C9EB4-702B-472F-98D0-40DBFD0B9500}" dt="2025-06-06T06:59:45.264" v="608" actId="14100"/>
          <ac:graphicFrameMkLst>
            <pc:docMk/>
            <pc:sldMk cId="3979248667" sldId="427"/>
            <ac:graphicFrameMk id="8" creationId="{29130C6D-0015-FE01-17CD-A1F4172CD464}"/>
          </ac:graphicFrameMkLst>
        </pc:graphicFrameChg>
        <pc:graphicFrameChg chg="del">
          <ac:chgData name="Georgia Giannakidou" userId="ad8be399-6ed4-4a5e-9fbb-4de190b4709c" providerId="ADAL" clId="{778C9EB4-702B-472F-98D0-40DBFD0B9500}" dt="2025-06-06T06:29:28.791" v="23" actId="478"/>
          <ac:graphicFrameMkLst>
            <pc:docMk/>
            <pc:sldMk cId="3979248667" sldId="427"/>
            <ac:graphicFrameMk id="9" creationId="{4DC55720-ACD1-3913-8A27-96FC0AEB7DD9}"/>
          </ac:graphicFrameMkLst>
        </pc:graphicFrameChg>
      </pc:sldChg>
      <pc:sldChg chg="modSp del mod">
        <pc:chgData name="Georgia Giannakidou" userId="ad8be399-6ed4-4a5e-9fbb-4de190b4709c" providerId="ADAL" clId="{778C9EB4-702B-472F-98D0-40DBFD0B9500}" dt="2025-06-06T07:11:45.807" v="784" actId="47"/>
        <pc:sldMkLst>
          <pc:docMk/>
          <pc:sldMk cId="713585767" sldId="9276"/>
        </pc:sldMkLst>
        <pc:spChg chg="mod">
          <ac:chgData name="Georgia Giannakidou" userId="ad8be399-6ed4-4a5e-9fbb-4de190b4709c" providerId="ADAL" clId="{778C9EB4-702B-472F-98D0-40DBFD0B9500}" dt="2025-06-06T06:27:31.731" v="18" actId="1035"/>
          <ac:spMkLst>
            <pc:docMk/>
            <pc:sldMk cId="713585767" sldId="9276"/>
            <ac:spMk id="7" creationId="{D7D7928B-6043-B4E9-48F8-75DA4F99D9C0}"/>
          </ac:spMkLst>
        </pc:spChg>
        <pc:spChg chg="mod">
          <ac:chgData name="Georgia Giannakidou" userId="ad8be399-6ed4-4a5e-9fbb-4de190b4709c" providerId="ADAL" clId="{778C9EB4-702B-472F-98D0-40DBFD0B9500}" dt="2025-06-06T06:27:37.788" v="19" actId="1076"/>
          <ac:spMkLst>
            <pc:docMk/>
            <pc:sldMk cId="713585767" sldId="9276"/>
            <ac:spMk id="8" creationId="{E59D3D5E-EDE7-1E40-4C30-B45FB188256C}"/>
          </ac:spMkLst>
        </pc:spChg>
        <pc:picChg chg="mod">
          <ac:chgData name="Georgia Giannakidou" userId="ad8be399-6ed4-4a5e-9fbb-4de190b4709c" providerId="ADAL" clId="{778C9EB4-702B-472F-98D0-40DBFD0B9500}" dt="2025-06-06T06:27:31.731" v="18" actId="1035"/>
          <ac:picMkLst>
            <pc:docMk/>
            <pc:sldMk cId="713585767" sldId="9276"/>
            <ac:picMk id="4" creationId="{1871A6E9-82C5-3243-9CB3-B53471BF8316}"/>
          </ac:picMkLst>
        </pc:picChg>
      </pc:sldChg>
      <pc:sldChg chg="mod ord modShow">
        <pc:chgData name="Georgia Giannakidou" userId="ad8be399-6ed4-4a5e-9fbb-4de190b4709c" providerId="ADAL" clId="{778C9EB4-702B-472F-98D0-40DBFD0B9500}" dt="2025-06-06T06:57:33.422" v="531" actId="729"/>
        <pc:sldMkLst>
          <pc:docMk/>
          <pc:sldMk cId="851565885" sldId="9287"/>
        </pc:sldMkLst>
      </pc:sldChg>
      <pc:sldChg chg="delSp modSp mod">
        <pc:chgData name="Georgia Giannakidou" userId="ad8be399-6ed4-4a5e-9fbb-4de190b4709c" providerId="ADAL" clId="{778C9EB4-702B-472F-98D0-40DBFD0B9500}" dt="2025-06-06T06:48:16.462" v="223" actId="1076"/>
        <pc:sldMkLst>
          <pc:docMk/>
          <pc:sldMk cId="56793274" sldId="9288"/>
        </pc:sldMkLst>
        <pc:spChg chg="mod">
          <ac:chgData name="Georgia Giannakidou" userId="ad8be399-6ed4-4a5e-9fbb-4de190b4709c" providerId="ADAL" clId="{778C9EB4-702B-472F-98D0-40DBFD0B9500}" dt="2025-06-06T06:47:05.432" v="203" actId="403"/>
          <ac:spMkLst>
            <pc:docMk/>
            <pc:sldMk cId="56793274" sldId="9288"/>
            <ac:spMk id="2" creationId="{D63D7D00-2BDB-9B69-5AA4-BC136D895C46}"/>
          </ac:spMkLst>
        </pc:spChg>
        <pc:spChg chg="del">
          <ac:chgData name="Georgia Giannakidou" userId="ad8be399-6ed4-4a5e-9fbb-4de190b4709c" providerId="ADAL" clId="{778C9EB4-702B-472F-98D0-40DBFD0B9500}" dt="2025-06-06T06:46:29.087" v="190" actId="478"/>
          <ac:spMkLst>
            <pc:docMk/>
            <pc:sldMk cId="56793274" sldId="9288"/>
            <ac:spMk id="9" creationId="{B8F81AA0-C54E-3339-5882-2C163E903FC9}"/>
          </ac:spMkLst>
        </pc:spChg>
        <pc:spChg chg="del">
          <ac:chgData name="Georgia Giannakidou" userId="ad8be399-6ed4-4a5e-9fbb-4de190b4709c" providerId="ADAL" clId="{778C9EB4-702B-472F-98D0-40DBFD0B9500}" dt="2025-06-06T06:46:29.087" v="190" actId="478"/>
          <ac:spMkLst>
            <pc:docMk/>
            <pc:sldMk cId="56793274" sldId="9288"/>
            <ac:spMk id="11" creationId="{CE84EC64-72EF-5609-01DF-C9701FDBAB16}"/>
          </ac:spMkLst>
        </pc:spChg>
        <pc:spChg chg="mod">
          <ac:chgData name="Georgia Giannakidou" userId="ad8be399-6ed4-4a5e-9fbb-4de190b4709c" providerId="ADAL" clId="{778C9EB4-702B-472F-98D0-40DBFD0B9500}" dt="2025-06-06T06:47:42.687" v="218" actId="14100"/>
          <ac:spMkLst>
            <pc:docMk/>
            <pc:sldMk cId="56793274" sldId="9288"/>
            <ac:spMk id="15" creationId="{D738C0FB-3513-1DC5-7D3D-D00B3D547989}"/>
          </ac:spMkLst>
        </pc:spChg>
        <pc:spChg chg="mod">
          <ac:chgData name="Georgia Giannakidou" userId="ad8be399-6ed4-4a5e-9fbb-4de190b4709c" providerId="ADAL" clId="{778C9EB4-702B-472F-98D0-40DBFD0B9500}" dt="2025-06-06T06:48:16.462" v="223" actId="1076"/>
          <ac:spMkLst>
            <pc:docMk/>
            <pc:sldMk cId="56793274" sldId="9288"/>
            <ac:spMk id="17" creationId="{CB953BF0-A099-1F68-A958-2C429B30388B}"/>
          </ac:spMkLst>
        </pc:spChg>
        <pc:picChg chg="del">
          <ac:chgData name="Georgia Giannakidou" userId="ad8be399-6ed4-4a5e-9fbb-4de190b4709c" providerId="ADAL" clId="{778C9EB4-702B-472F-98D0-40DBFD0B9500}" dt="2025-06-06T06:46:29.087" v="190" actId="478"/>
          <ac:picMkLst>
            <pc:docMk/>
            <pc:sldMk cId="56793274" sldId="9288"/>
            <ac:picMk id="5" creationId="{6D06659A-CEF4-89F1-8843-6E4DD7290B8B}"/>
          </ac:picMkLst>
        </pc:picChg>
        <pc:picChg chg="mod">
          <ac:chgData name="Georgia Giannakidou" userId="ad8be399-6ed4-4a5e-9fbb-4de190b4709c" providerId="ADAL" clId="{778C9EB4-702B-472F-98D0-40DBFD0B9500}" dt="2025-06-06T06:47:28.678" v="215" actId="1076"/>
          <ac:picMkLst>
            <pc:docMk/>
            <pc:sldMk cId="56793274" sldId="9288"/>
            <ac:picMk id="13" creationId="{6B05432C-5E69-6536-2BB0-B6D821DCB1CD}"/>
          </ac:picMkLst>
        </pc:picChg>
        <pc:picChg chg="mod">
          <ac:chgData name="Georgia Giannakidou" userId="ad8be399-6ed4-4a5e-9fbb-4de190b4709c" providerId="ADAL" clId="{778C9EB4-702B-472F-98D0-40DBFD0B9500}" dt="2025-06-06T06:46:48.633" v="196" actId="1076"/>
          <ac:picMkLst>
            <pc:docMk/>
            <pc:sldMk cId="56793274" sldId="9288"/>
            <ac:picMk id="10244" creationId="{417A5CC9-A348-71E9-BB58-5724D746DFAE}"/>
          </ac:picMkLst>
        </pc:picChg>
        <pc:picChg chg="del">
          <ac:chgData name="Georgia Giannakidou" userId="ad8be399-6ed4-4a5e-9fbb-4de190b4709c" providerId="ADAL" clId="{778C9EB4-702B-472F-98D0-40DBFD0B9500}" dt="2025-06-06T06:46:29.087" v="190" actId="478"/>
          <ac:picMkLst>
            <pc:docMk/>
            <pc:sldMk cId="56793274" sldId="9288"/>
            <ac:picMk id="10246" creationId="{7A309CE7-342A-1048-1674-C9EB8D2BA13D}"/>
          </ac:picMkLst>
        </pc:picChg>
      </pc:sldChg>
      <pc:sldChg chg="modSp mod">
        <pc:chgData name="Georgia Giannakidou" userId="ad8be399-6ed4-4a5e-9fbb-4de190b4709c" providerId="ADAL" clId="{778C9EB4-702B-472F-98D0-40DBFD0B9500}" dt="2025-06-06T06:56:46.799" v="527" actId="20577"/>
        <pc:sldMkLst>
          <pc:docMk/>
          <pc:sldMk cId="2638987245" sldId="9290"/>
        </pc:sldMkLst>
        <pc:spChg chg="mod">
          <ac:chgData name="Georgia Giannakidou" userId="ad8be399-6ed4-4a5e-9fbb-4de190b4709c" providerId="ADAL" clId="{778C9EB4-702B-472F-98D0-40DBFD0B9500}" dt="2025-06-06T06:56:46.799" v="527" actId="20577"/>
          <ac:spMkLst>
            <pc:docMk/>
            <pc:sldMk cId="2638987245" sldId="9290"/>
            <ac:spMk id="6" creationId="{8D5B5B2A-E3B3-85C1-A8DE-F35A15F7620C}"/>
          </ac:spMkLst>
        </pc:spChg>
      </pc:sldChg>
      <pc:sldChg chg="modSp mod">
        <pc:chgData name="Georgia Giannakidou" userId="ad8be399-6ed4-4a5e-9fbb-4de190b4709c" providerId="ADAL" clId="{778C9EB4-702B-472F-98D0-40DBFD0B9500}" dt="2025-06-06T07:00:32.960" v="615" actId="20577"/>
        <pc:sldMkLst>
          <pc:docMk/>
          <pc:sldMk cId="3801924591" sldId="2147483546"/>
        </pc:sldMkLst>
        <pc:spChg chg="mod">
          <ac:chgData name="Georgia Giannakidou" userId="ad8be399-6ed4-4a5e-9fbb-4de190b4709c" providerId="ADAL" clId="{778C9EB4-702B-472F-98D0-40DBFD0B9500}" dt="2025-06-06T07:00:27.529" v="614" actId="20577"/>
          <ac:spMkLst>
            <pc:docMk/>
            <pc:sldMk cId="3801924591" sldId="2147483546"/>
            <ac:spMk id="14" creationId="{46E6CB89-0F95-62C2-28C4-39F6F56F9E99}"/>
          </ac:spMkLst>
        </pc:spChg>
        <pc:spChg chg="mod">
          <ac:chgData name="Georgia Giannakidou" userId="ad8be399-6ed4-4a5e-9fbb-4de190b4709c" providerId="ADAL" clId="{778C9EB4-702B-472F-98D0-40DBFD0B9500}" dt="2025-06-06T07:00:32.960" v="615" actId="20577"/>
          <ac:spMkLst>
            <pc:docMk/>
            <pc:sldMk cId="3801924591" sldId="2147483546"/>
            <ac:spMk id="52" creationId="{DBC4B2CE-98EC-E836-D35D-C7A80E5B78B9}"/>
          </ac:spMkLst>
        </pc:spChg>
      </pc:sldChg>
      <pc:sldChg chg="addSp delSp modSp add mod">
        <pc:chgData name="Georgia Giannakidou" userId="ad8be399-6ed4-4a5e-9fbb-4de190b4709c" providerId="ADAL" clId="{778C9EB4-702B-472F-98D0-40DBFD0B9500}" dt="2025-06-06T07:01:59.692" v="658" actId="14100"/>
        <pc:sldMkLst>
          <pc:docMk/>
          <pc:sldMk cId="370965464" sldId="2147483621"/>
        </pc:sldMkLst>
        <pc:spChg chg="del">
          <ac:chgData name="Georgia Giannakidou" userId="ad8be399-6ed4-4a5e-9fbb-4de190b4709c" providerId="ADAL" clId="{778C9EB4-702B-472F-98D0-40DBFD0B9500}" dt="2025-06-06T06:42:13.196" v="114" actId="478"/>
          <ac:spMkLst>
            <pc:docMk/>
            <pc:sldMk cId="370965464" sldId="2147483621"/>
            <ac:spMk id="2" creationId="{56C15D9E-47B2-5BA0-7F87-E3C11E95852A}"/>
          </ac:spMkLst>
        </pc:spChg>
        <pc:spChg chg="del">
          <ac:chgData name="Georgia Giannakidou" userId="ad8be399-6ed4-4a5e-9fbb-4de190b4709c" providerId="ADAL" clId="{778C9EB4-702B-472F-98D0-40DBFD0B9500}" dt="2025-06-06T06:42:13.196" v="114" actId="478"/>
          <ac:spMkLst>
            <pc:docMk/>
            <pc:sldMk cId="370965464" sldId="2147483621"/>
            <ac:spMk id="4" creationId="{DFC95EA1-E808-35B2-743E-52ACA43C17C4}"/>
          </ac:spMkLst>
        </pc:spChg>
        <pc:spChg chg="add mod">
          <ac:chgData name="Georgia Giannakidou" userId="ad8be399-6ed4-4a5e-9fbb-4de190b4709c" providerId="ADAL" clId="{778C9EB4-702B-472F-98D0-40DBFD0B9500}" dt="2025-06-06T07:01:13.630" v="621" actId="1076"/>
          <ac:spMkLst>
            <pc:docMk/>
            <pc:sldMk cId="370965464" sldId="2147483621"/>
            <ac:spMk id="8" creationId="{A99AF8A5-56D9-C6C7-6464-F3BE7C54A8D8}"/>
          </ac:spMkLst>
        </pc:spChg>
        <pc:spChg chg="del">
          <ac:chgData name="Georgia Giannakidou" userId="ad8be399-6ed4-4a5e-9fbb-4de190b4709c" providerId="ADAL" clId="{778C9EB4-702B-472F-98D0-40DBFD0B9500}" dt="2025-06-06T06:42:20.059" v="117" actId="478"/>
          <ac:spMkLst>
            <pc:docMk/>
            <pc:sldMk cId="370965464" sldId="2147483621"/>
            <ac:spMk id="9" creationId="{BFC36C3F-BA39-927E-8948-0C627DC3FAD3}"/>
          </ac:spMkLst>
        </pc:spChg>
        <pc:spChg chg="del">
          <ac:chgData name="Georgia Giannakidou" userId="ad8be399-6ed4-4a5e-9fbb-4de190b4709c" providerId="ADAL" clId="{778C9EB4-702B-472F-98D0-40DBFD0B9500}" dt="2025-06-06T06:42:13.196" v="114" actId="478"/>
          <ac:spMkLst>
            <pc:docMk/>
            <pc:sldMk cId="370965464" sldId="2147483621"/>
            <ac:spMk id="11" creationId="{BF0FF172-9C3E-169F-1598-3217D6618F15}"/>
          </ac:spMkLst>
        </pc:spChg>
        <pc:spChg chg="add mod">
          <ac:chgData name="Georgia Giannakidou" userId="ad8be399-6ed4-4a5e-9fbb-4de190b4709c" providerId="ADAL" clId="{778C9EB4-702B-472F-98D0-40DBFD0B9500}" dt="2025-06-06T07:01:55.943" v="657" actId="14100"/>
          <ac:spMkLst>
            <pc:docMk/>
            <pc:sldMk cId="370965464" sldId="2147483621"/>
            <ac:spMk id="14" creationId="{392EAD91-1037-CD5A-502E-1528FB7E5619}"/>
          </ac:spMkLst>
        </pc:spChg>
        <pc:spChg chg="del">
          <ac:chgData name="Georgia Giannakidou" userId="ad8be399-6ed4-4a5e-9fbb-4de190b4709c" providerId="ADAL" clId="{778C9EB4-702B-472F-98D0-40DBFD0B9500}" dt="2025-06-06T06:42:17.058" v="116" actId="478"/>
          <ac:spMkLst>
            <pc:docMk/>
            <pc:sldMk cId="370965464" sldId="2147483621"/>
            <ac:spMk id="15" creationId="{73F72B9F-EFD8-F229-3B63-184B6B7BF61F}"/>
          </ac:spMkLst>
        </pc:spChg>
        <pc:spChg chg="add mod">
          <ac:chgData name="Georgia Giannakidou" userId="ad8be399-6ed4-4a5e-9fbb-4de190b4709c" providerId="ADAL" clId="{778C9EB4-702B-472F-98D0-40DBFD0B9500}" dt="2025-06-06T07:01:59.692" v="658" actId="14100"/>
          <ac:spMkLst>
            <pc:docMk/>
            <pc:sldMk cId="370965464" sldId="2147483621"/>
            <ac:spMk id="16" creationId="{A4925FDD-5C58-C1E4-D339-60715160A9FC}"/>
          </ac:spMkLst>
        </pc:spChg>
        <pc:spChg chg="del">
          <ac:chgData name="Georgia Giannakidou" userId="ad8be399-6ed4-4a5e-9fbb-4de190b4709c" providerId="ADAL" clId="{778C9EB4-702B-472F-98D0-40DBFD0B9500}" dt="2025-06-06T06:42:13.196" v="114" actId="478"/>
          <ac:spMkLst>
            <pc:docMk/>
            <pc:sldMk cId="370965464" sldId="2147483621"/>
            <ac:spMk id="17" creationId="{899986D9-3A38-75D6-ED01-10532FD9982B}"/>
          </ac:spMkLst>
        </pc:spChg>
        <pc:graphicFrameChg chg="add mod">
          <ac:chgData name="Georgia Giannakidou" userId="ad8be399-6ed4-4a5e-9fbb-4de190b4709c" providerId="ADAL" clId="{778C9EB4-702B-472F-98D0-40DBFD0B9500}" dt="2025-06-06T07:01:08.928" v="620" actId="14100"/>
          <ac:graphicFrameMkLst>
            <pc:docMk/>
            <pc:sldMk cId="370965464" sldId="2147483621"/>
            <ac:graphicFrameMk id="7" creationId="{FBDAE355-E45A-BD0F-A59E-D5B0FF90683D}"/>
          </ac:graphicFrameMkLst>
        </pc:graphicFrameChg>
        <pc:picChg chg="del">
          <ac:chgData name="Georgia Giannakidou" userId="ad8be399-6ed4-4a5e-9fbb-4de190b4709c" providerId="ADAL" clId="{778C9EB4-702B-472F-98D0-40DBFD0B9500}" dt="2025-06-06T06:42:22.354" v="118" actId="478"/>
          <ac:picMkLst>
            <pc:docMk/>
            <pc:sldMk cId="370965464" sldId="2147483621"/>
            <ac:picMk id="5" creationId="{E39174B6-64EC-6F5A-CC93-53485CD8B071}"/>
          </ac:picMkLst>
        </pc:picChg>
        <pc:picChg chg="add mod">
          <ac:chgData name="Georgia Giannakidou" userId="ad8be399-6ed4-4a5e-9fbb-4de190b4709c" providerId="ADAL" clId="{778C9EB4-702B-472F-98D0-40DBFD0B9500}" dt="2025-06-06T07:01:20.501" v="644" actId="1037"/>
          <ac:picMkLst>
            <pc:docMk/>
            <pc:sldMk cId="370965464" sldId="2147483621"/>
            <ac:picMk id="10" creationId="{8D9FFF51-27A4-8A5A-8E44-E9CABB579E6A}"/>
          </ac:picMkLst>
        </pc:picChg>
        <pc:picChg chg="add mod">
          <ac:chgData name="Georgia Giannakidou" userId="ad8be399-6ed4-4a5e-9fbb-4de190b4709c" providerId="ADAL" clId="{778C9EB4-702B-472F-98D0-40DBFD0B9500}" dt="2025-06-06T07:01:20.501" v="644" actId="1037"/>
          <ac:picMkLst>
            <pc:docMk/>
            <pc:sldMk cId="370965464" sldId="2147483621"/>
            <ac:picMk id="12" creationId="{29DB0F17-4C4F-1C34-B186-CFB517607250}"/>
          </ac:picMkLst>
        </pc:picChg>
        <pc:picChg chg="del">
          <ac:chgData name="Georgia Giannakidou" userId="ad8be399-6ed4-4a5e-9fbb-4de190b4709c" providerId="ADAL" clId="{778C9EB4-702B-472F-98D0-40DBFD0B9500}" dt="2025-06-06T06:42:15.026" v="115" actId="478"/>
          <ac:picMkLst>
            <pc:docMk/>
            <pc:sldMk cId="370965464" sldId="2147483621"/>
            <ac:picMk id="13" creationId="{B4005F5B-2579-F7DD-A427-249CF7BEC6F4}"/>
          </ac:picMkLst>
        </pc:picChg>
        <pc:picChg chg="del">
          <ac:chgData name="Georgia Giannakidou" userId="ad8be399-6ed4-4a5e-9fbb-4de190b4709c" providerId="ADAL" clId="{778C9EB4-702B-472F-98D0-40DBFD0B9500}" dt="2025-06-06T06:42:13.196" v="114" actId="478"/>
          <ac:picMkLst>
            <pc:docMk/>
            <pc:sldMk cId="370965464" sldId="2147483621"/>
            <ac:picMk id="10244" creationId="{2ADF24FF-33DD-44D8-09F6-2199AB941EC9}"/>
          </ac:picMkLst>
        </pc:picChg>
        <pc:picChg chg="del">
          <ac:chgData name="Georgia Giannakidou" userId="ad8be399-6ed4-4a5e-9fbb-4de190b4709c" providerId="ADAL" clId="{778C9EB4-702B-472F-98D0-40DBFD0B9500}" dt="2025-06-06T06:42:13.196" v="114" actId="478"/>
          <ac:picMkLst>
            <pc:docMk/>
            <pc:sldMk cId="370965464" sldId="2147483621"/>
            <ac:picMk id="10246" creationId="{50736987-07EC-083E-B601-5B11EC0BE8F1}"/>
          </ac:picMkLst>
        </pc:picChg>
      </pc:sldChg>
      <pc:sldChg chg="add del">
        <pc:chgData name="Georgia Giannakidou" userId="ad8be399-6ed4-4a5e-9fbb-4de190b4709c" providerId="ADAL" clId="{778C9EB4-702B-472F-98D0-40DBFD0B9500}" dt="2025-06-06T07:00:59.014" v="618" actId="47"/>
        <pc:sldMkLst>
          <pc:docMk/>
          <pc:sldMk cId="2929218245" sldId="2147483622"/>
        </pc:sldMkLst>
      </pc:sldChg>
      <pc:sldChg chg="addSp delSp modSp add mod">
        <pc:chgData name="Georgia Giannakidou" userId="ad8be399-6ed4-4a5e-9fbb-4de190b4709c" providerId="ADAL" clId="{778C9EB4-702B-472F-98D0-40DBFD0B9500}" dt="2025-06-06T07:07:14.474" v="713" actId="948"/>
        <pc:sldMkLst>
          <pc:docMk/>
          <pc:sldMk cId="2873328882" sldId="2147483623"/>
        </pc:sldMkLst>
        <pc:spChg chg="add mod">
          <ac:chgData name="Georgia Giannakidou" userId="ad8be399-6ed4-4a5e-9fbb-4de190b4709c" providerId="ADAL" clId="{778C9EB4-702B-472F-98D0-40DBFD0B9500}" dt="2025-06-06T07:06:59.738" v="712" actId="948"/>
          <ac:spMkLst>
            <pc:docMk/>
            <pc:sldMk cId="2873328882" sldId="2147483623"/>
            <ac:spMk id="2" creationId="{79EDFEA2-A4B9-F8A6-E7EF-3D114E5D37C4}"/>
          </ac:spMkLst>
        </pc:spChg>
        <pc:spChg chg="add mod">
          <ac:chgData name="Georgia Giannakidou" userId="ad8be399-6ed4-4a5e-9fbb-4de190b4709c" providerId="ADAL" clId="{778C9EB4-702B-472F-98D0-40DBFD0B9500}" dt="2025-06-06T07:07:14.474" v="713" actId="948"/>
          <ac:spMkLst>
            <pc:docMk/>
            <pc:sldMk cId="2873328882" sldId="2147483623"/>
            <ac:spMk id="3" creationId="{8A5097EE-9714-A8D3-A3A2-BC22BECD4276}"/>
          </ac:spMkLst>
        </pc:spChg>
        <pc:spChg chg="mod">
          <ac:chgData name="Georgia Giannakidou" userId="ad8be399-6ed4-4a5e-9fbb-4de190b4709c" providerId="ADAL" clId="{778C9EB4-702B-472F-98D0-40DBFD0B9500}" dt="2025-06-06T06:57:55.919" v="557" actId="20577"/>
          <ac:spMkLst>
            <pc:docMk/>
            <pc:sldMk cId="2873328882" sldId="2147483623"/>
            <ac:spMk id="6" creationId="{615B1F7E-C906-0284-A791-AB7E3C6CEE26}"/>
          </ac:spMkLst>
        </pc:spChg>
        <pc:spChg chg="add del mod">
          <ac:chgData name="Georgia Giannakidou" userId="ad8be399-6ed4-4a5e-9fbb-4de190b4709c" providerId="ADAL" clId="{778C9EB4-702B-472F-98D0-40DBFD0B9500}" dt="2025-06-06T06:58:28.732" v="590" actId="478"/>
          <ac:spMkLst>
            <pc:docMk/>
            <pc:sldMk cId="2873328882" sldId="2147483623"/>
            <ac:spMk id="8" creationId="{4ECD1FF6-BCB9-F2F0-AD03-C26C1A19423E}"/>
          </ac:spMkLst>
        </pc:spChg>
        <pc:spChg chg="del">
          <ac:chgData name="Georgia Giannakidou" userId="ad8be399-6ed4-4a5e-9fbb-4de190b4709c" providerId="ADAL" clId="{778C9EB4-702B-472F-98D0-40DBFD0B9500}" dt="2025-06-06T06:58:19.484" v="559" actId="478"/>
          <ac:spMkLst>
            <pc:docMk/>
            <pc:sldMk cId="2873328882" sldId="2147483623"/>
            <ac:spMk id="55" creationId="{DACFA48F-A5F3-DBB9-5BC1-B050570F577A}"/>
          </ac:spMkLst>
        </pc:spChg>
        <pc:picChg chg="add mod">
          <ac:chgData name="Georgia Giannakidou" userId="ad8be399-6ed4-4a5e-9fbb-4de190b4709c" providerId="ADAL" clId="{778C9EB4-702B-472F-98D0-40DBFD0B9500}" dt="2025-06-06T06:58:41.351" v="593" actId="1076"/>
          <ac:picMkLst>
            <pc:docMk/>
            <pc:sldMk cId="2873328882" sldId="2147483623"/>
            <ac:picMk id="4" creationId="{866BAA7E-6A7A-2FA3-B23A-4C850F49F31C}"/>
          </ac:picMkLst>
        </pc:picChg>
        <pc:picChg chg="add mod">
          <ac:chgData name="Georgia Giannakidou" userId="ad8be399-6ed4-4a5e-9fbb-4de190b4709c" providerId="ADAL" clId="{778C9EB4-702B-472F-98D0-40DBFD0B9500}" dt="2025-06-06T06:58:37.567" v="592" actId="1076"/>
          <ac:picMkLst>
            <pc:docMk/>
            <pc:sldMk cId="2873328882" sldId="2147483623"/>
            <ac:picMk id="7" creationId="{E344F74B-4287-08F5-4F1E-CE043F362DFD}"/>
          </ac:picMkLst>
        </pc:picChg>
      </pc:sldChg>
    </pc:docChg>
  </pc:docChgLst>
  <pc:docChgLst>
    <pc:chgData name="Eleni Ntemou" userId="47d0fac9-7e29-4eb9-8125-8aa0f05d2f58" providerId="ADAL" clId="{9BE9A3FF-B6F1-4E53-A4B6-7AB372F49B09}"/>
    <pc:docChg chg="undo custSel addSld delSld modSld modNotesMaster modHandout">
      <pc:chgData name="Eleni Ntemou" userId="47d0fac9-7e29-4eb9-8125-8aa0f05d2f58" providerId="ADAL" clId="{9BE9A3FF-B6F1-4E53-A4B6-7AB372F49B09}" dt="2025-06-06T07:12:11.410" v="1470" actId="207"/>
      <pc:docMkLst>
        <pc:docMk/>
      </pc:docMkLst>
      <pc:sldChg chg="addSp delSp modSp mod">
        <pc:chgData name="Eleni Ntemou" userId="47d0fac9-7e29-4eb9-8125-8aa0f05d2f58" providerId="ADAL" clId="{9BE9A3FF-B6F1-4E53-A4B6-7AB372F49B09}" dt="2025-05-28T08:00:11.560" v="151"/>
        <pc:sldMkLst>
          <pc:docMk/>
          <pc:sldMk cId="255659593" sldId="261"/>
        </pc:sldMkLst>
      </pc:sldChg>
      <pc:sldChg chg="addSp delSp modSp mod">
        <pc:chgData name="Eleni Ntemou" userId="47d0fac9-7e29-4eb9-8125-8aa0f05d2f58" providerId="ADAL" clId="{9BE9A3FF-B6F1-4E53-A4B6-7AB372F49B09}" dt="2025-06-06T07:10:17.013" v="1460" actId="207"/>
        <pc:sldMkLst>
          <pc:docMk/>
          <pc:sldMk cId="3792018806" sldId="339"/>
        </pc:sldMkLst>
        <pc:spChg chg="add mod">
          <ac:chgData name="Eleni Ntemou" userId="47d0fac9-7e29-4eb9-8125-8aa0f05d2f58" providerId="ADAL" clId="{9BE9A3FF-B6F1-4E53-A4B6-7AB372F49B09}" dt="2025-05-28T07:52:55.067" v="32"/>
          <ac:spMkLst>
            <pc:docMk/>
            <pc:sldMk cId="3792018806" sldId="339"/>
            <ac:spMk id="4" creationId="{3018F379-B016-C19D-6207-0E19EC86B4B5}"/>
          </ac:spMkLst>
        </pc:spChg>
        <pc:graphicFrameChg chg="mod">
          <ac:chgData name="Eleni Ntemou" userId="47d0fac9-7e29-4eb9-8125-8aa0f05d2f58" providerId="ADAL" clId="{9BE9A3FF-B6F1-4E53-A4B6-7AB372F49B09}" dt="2025-05-28T07:53:11.234" v="34"/>
          <ac:graphicFrameMkLst>
            <pc:docMk/>
            <pc:sldMk cId="3792018806" sldId="339"/>
            <ac:graphicFrameMk id="3" creationId="{FD1FED60-B5A0-866D-CE41-B5DBD5C425F7}"/>
          </ac:graphicFrameMkLst>
        </pc:graphicFrameChg>
        <pc:graphicFrameChg chg="mod">
          <ac:chgData name="Eleni Ntemou" userId="47d0fac9-7e29-4eb9-8125-8aa0f05d2f58" providerId="ADAL" clId="{9BE9A3FF-B6F1-4E53-A4B6-7AB372F49B09}" dt="2025-06-06T07:10:17.013" v="1460" actId="207"/>
          <ac:graphicFrameMkLst>
            <pc:docMk/>
            <pc:sldMk cId="3792018806" sldId="339"/>
            <ac:graphicFrameMk id="10" creationId="{5DD5FC80-A216-D983-2467-2D8A3FCF1A1E}"/>
          </ac:graphicFrameMkLst>
        </pc:graphicFrameChg>
        <pc:graphicFrameChg chg="mod">
          <ac:chgData name="Eleni Ntemou" userId="47d0fac9-7e29-4eb9-8125-8aa0f05d2f58" providerId="ADAL" clId="{9BE9A3FF-B6F1-4E53-A4B6-7AB372F49B09}" dt="2025-06-06T07:10:10.320" v="1459" actId="207"/>
          <ac:graphicFrameMkLst>
            <pc:docMk/>
            <pc:sldMk cId="3792018806" sldId="339"/>
            <ac:graphicFrameMk id="14" creationId="{9BDBD869-8C71-E6D8-EB90-F68331B1FBA0}"/>
          </ac:graphicFrameMkLst>
        </pc:graphicFrameChg>
      </pc:sldChg>
      <pc:sldChg chg="addSp delSp modSp mod">
        <pc:chgData name="Eleni Ntemou" userId="47d0fac9-7e29-4eb9-8125-8aa0f05d2f58" providerId="ADAL" clId="{9BE9A3FF-B6F1-4E53-A4B6-7AB372F49B09}" dt="2025-05-28T13:57:11.122" v="197"/>
        <pc:sldMkLst>
          <pc:docMk/>
          <pc:sldMk cId="1483897058" sldId="402"/>
        </pc:sldMkLst>
        <pc:picChg chg="add mod">
          <ac:chgData name="Eleni Ntemou" userId="47d0fac9-7e29-4eb9-8125-8aa0f05d2f58" providerId="ADAL" clId="{9BE9A3FF-B6F1-4E53-A4B6-7AB372F49B09}" dt="2025-05-28T13:57:11.122" v="197"/>
          <ac:picMkLst>
            <pc:docMk/>
            <pc:sldMk cId="1483897058" sldId="402"/>
            <ac:picMk id="7" creationId="{09E3C9DB-788B-F60C-8A15-40ECE0931D82}"/>
          </ac:picMkLst>
        </pc:picChg>
      </pc:sldChg>
      <pc:sldChg chg="addSp delSp modSp mod">
        <pc:chgData name="Eleni Ntemou" userId="47d0fac9-7e29-4eb9-8125-8aa0f05d2f58" providerId="ADAL" clId="{9BE9A3FF-B6F1-4E53-A4B6-7AB372F49B09}" dt="2025-06-03T14:47:53.332" v="201" actId="1036"/>
        <pc:sldMkLst>
          <pc:docMk/>
          <pc:sldMk cId="1128318824" sldId="403"/>
        </pc:sldMkLst>
        <pc:spChg chg="add mod">
          <ac:chgData name="Eleni Ntemou" userId="47d0fac9-7e29-4eb9-8125-8aa0f05d2f58" providerId="ADAL" clId="{9BE9A3FF-B6F1-4E53-A4B6-7AB372F49B09}" dt="2025-05-28T07:56:21.171" v="108"/>
          <ac:spMkLst>
            <pc:docMk/>
            <pc:sldMk cId="1128318824" sldId="403"/>
            <ac:spMk id="7" creationId="{D388247B-7C15-7704-2B1F-818523F7E77D}"/>
          </ac:spMkLst>
        </pc:spChg>
        <pc:graphicFrameChg chg="mod">
          <ac:chgData name="Eleni Ntemou" userId="47d0fac9-7e29-4eb9-8125-8aa0f05d2f58" providerId="ADAL" clId="{9BE9A3FF-B6F1-4E53-A4B6-7AB372F49B09}" dt="2025-06-03T14:47:53.332" v="201" actId="1036"/>
          <ac:graphicFrameMkLst>
            <pc:docMk/>
            <pc:sldMk cId="1128318824" sldId="403"/>
            <ac:graphicFrameMk id="2" creationId="{56475DD0-D5E5-2B91-BEC0-E50DC07F770C}"/>
          </ac:graphicFrameMkLst>
        </pc:graphicFrameChg>
      </pc:sldChg>
      <pc:sldChg chg="addSp delSp modSp mod">
        <pc:chgData name="Eleni Ntemou" userId="47d0fac9-7e29-4eb9-8125-8aa0f05d2f58" providerId="ADAL" clId="{9BE9A3FF-B6F1-4E53-A4B6-7AB372F49B09}" dt="2025-06-06T07:11:10.479" v="1462" actId="207"/>
        <pc:sldMkLst>
          <pc:docMk/>
          <pc:sldMk cId="3094131506" sldId="404"/>
        </pc:sldMkLst>
        <pc:spChg chg="add mod">
          <ac:chgData name="Eleni Ntemou" userId="47d0fac9-7e29-4eb9-8125-8aa0f05d2f58" providerId="ADAL" clId="{9BE9A3FF-B6F1-4E53-A4B6-7AB372F49B09}" dt="2025-05-28T07:52:37.525" v="29"/>
          <ac:spMkLst>
            <pc:docMk/>
            <pc:sldMk cId="3094131506" sldId="404"/>
            <ac:spMk id="4" creationId="{D75204AB-D16A-A2D2-94A0-4AAF99AAB6BE}"/>
          </ac:spMkLst>
        </pc:spChg>
        <pc:spChg chg="add del">
          <ac:chgData name="Eleni Ntemou" userId="47d0fac9-7e29-4eb9-8125-8aa0f05d2f58" providerId="ADAL" clId="{9BE9A3FF-B6F1-4E53-A4B6-7AB372F49B09}" dt="2025-06-06T06:22:47.718" v="204" actId="22"/>
          <ac:spMkLst>
            <pc:docMk/>
            <pc:sldMk cId="3094131506" sldId="404"/>
            <ac:spMk id="13" creationId="{FC74A68E-D049-FB41-B48A-AE0C0B453674}"/>
          </ac:spMkLst>
        </pc:spChg>
        <pc:graphicFrameChg chg="mod">
          <ac:chgData name="Eleni Ntemou" userId="47d0fac9-7e29-4eb9-8125-8aa0f05d2f58" providerId="ADAL" clId="{9BE9A3FF-B6F1-4E53-A4B6-7AB372F49B09}" dt="2025-06-06T07:11:10.479" v="1462" actId="207"/>
          <ac:graphicFrameMkLst>
            <pc:docMk/>
            <pc:sldMk cId="3094131506" sldId="404"/>
            <ac:graphicFrameMk id="3" creationId="{37794AC5-6432-AE84-8E47-BEA2AF2257A9}"/>
          </ac:graphicFrameMkLst>
        </pc:graphicFrameChg>
      </pc:sldChg>
      <pc:sldChg chg="addSp delSp modSp mod">
        <pc:chgData name="Eleni Ntemou" userId="47d0fac9-7e29-4eb9-8125-8aa0f05d2f58" providerId="ADAL" clId="{9BE9A3FF-B6F1-4E53-A4B6-7AB372F49B09}" dt="2025-05-28T07:57:16.107" v="119" actId="478"/>
        <pc:sldMkLst>
          <pc:docMk/>
          <pc:sldMk cId="1992099247" sldId="405"/>
        </pc:sldMkLst>
      </pc:sldChg>
      <pc:sldChg chg="addSp delSp modSp mod">
        <pc:chgData name="Eleni Ntemou" userId="47d0fac9-7e29-4eb9-8125-8aa0f05d2f58" providerId="ADAL" clId="{9BE9A3FF-B6F1-4E53-A4B6-7AB372F49B09}" dt="2025-05-28T07:52:04.036" v="21" actId="478"/>
        <pc:sldMkLst>
          <pc:docMk/>
          <pc:sldMk cId="1352201521" sldId="406"/>
        </pc:sldMkLst>
      </pc:sldChg>
      <pc:sldChg chg="addSp delSp modSp mod">
        <pc:chgData name="Eleni Ntemou" userId="47d0fac9-7e29-4eb9-8125-8aa0f05d2f58" providerId="ADAL" clId="{9BE9A3FF-B6F1-4E53-A4B6-7AB372F49B09}" dt="2025-05-28T07:56:56.612" v="114" actId="14100"/>
        <pc:sldMkLst>
          <pc:docMk/>
          <pc:sldMk cId="1203356571" sldId="407"/>
        </pc:sldMkLst>
        <pc:spChg chg="add mod">
          <ac:chgData name="Eleni Ntemou" userId="47d0fac9-7e29-4eb9-8125-8aa0f05d2f58" providerId="ADAL" clId="{9BE9A3FF-B6F1-4E53-A4B6-7AB372F49B09}" dt="2025-05-28T07:56:56.612" v="114" actId="14100"/>
          <ac:spMkLst>
            <pc:docMk/>
            <pc:sldMk cId="1203356571" sldId="407"/>
            <ac:spMk id="2" creationId="{4A8564CD-A669-F3B2-DE44-F26C32528CBA}"/>
          </ac:spMkLst>
        </pc:spChg>
      </pc:sldChg>
      <pc:sldChg chg="addSp delSp modSp mod">
        <pc:chgData name="Eleni Ntemou" userId="47d0fac9-7e29-4eb9-8125-8aa0f05d2f58" providerId="ADAL" clId="{9BE9A3FF-B6F1-4E53-A4B6-7AB372F49B09}" dt="2025-05-28T07:54:43.108" v="60" actId="20577"/>
        <pc:sldMkLst>
          <pc:docMk/>
          <pc:sldMk cId="25564932" sldId="408"/>
        </pc:sldMkLst>
        <pc:spChg chg="add mod">
          <ac:chgData name="Eleni Ntemou" userId="47d0fac9-7e29-4eb9-8125-8aa0f05d2f58" providerId="ADAL" clId="{9BE9A3FF-B6F1-4E53-A4B6-7AB372F49B09}" dt="2025-05-28T07:54:43.108" v="60" actId="20577"/>
          <ac:spMkLst>
            <pc:docMk/>
            <pc:sldMk cId="25564932" sldId="408"/>
            <ac:spMk id="4" creationId="{8250E09E-1F29-BFBA-C08E-D96A9D1A6114}"/>
          </ac:spMkLst>
        </pc:spChg>
      </pc:sldChg>
      <pc:sldChg chg="addSp delSp modSp mod">
        <pc:chgData name="Eleni Ntemou" userId="47d0fac9-7e29-4eb9-8125-8aa0f05d2f58" providerId="ADAL" clId="{9BE9A3FF-B6F1-4E53-A4B6-7AB372F49B09}" dt="2025-05-28T07:51:30.146" v="7" actId="478"/>
        <pc:sldMkLst>
          <pc:docMk/>
          <pc:sldMk cId="345640857" sldId="410"/>
        </pc:sldMkLst>
        <pc:spChg chg="add mod">
          <ac:chgData name="Eleni Ntemou" userId="47d0fac9-7e29-4eb9-8125-8aa0f05d2f58" providerId="ADAL" clId="{9BE9A3FF-B6F1-4E53-A4B6-7AB372F49B09}" dt="2025-05-28T07:51:26.072" v="6"/>
          <ac:spMkLst>
            <pc:docMk/>
            <pc:sldMk cId="345640857" sldId="410"/>
            <ac:spMk id="2" creationId="{E7FEE2E3-972E-1874-7BBA-421FF87E6CD0}"/>
          </ac:spMkLst>
        </pc:spChg>
      </pc:sldChg>
      <pc:sldChg chg="addSp delSp modSp mod">
        <pc:chgData name="Eleni Ntemou" userId="47d0fac9-7e29-4eb9-8125-8aa0f05d2f58" providerId="ADAL" clId="{9BE9A3FF-B6F1-4E53-A4B6-7AB372F49B09}" dt="2025-05-28T07:55:56.359" v="102" actId="478"/>
        <pc:sldMkLst>
          <pc:docMk/>
          <pc:sldMk cId="486760808" sldId="414"/>
        </pc:sldMkLst>
      </pc:sldChg>
      <pc:sldChg chg="addSp delSp modSp mod">
        <pc:chgData name="Eleni Ntemou" userId="47d0fac9-7e29-4eb9-8125-8aa0f05d2f58" providerId="ADAL" clId="{9BE9A3FF-B6F1-4E53-A4B6-7AB372F49B09}" dt="2025-05-28T07:58:15.825" v="133" actId="6549"/>
        <pc:sldMkLst>
          <pc:docMk/>
          <pc:sldMk cId="2994244721" sldId="415"/>
        </pc:sldMkLst>
        <pc:spChg chg="add mod">
          <ac:chgData name="Eleni Ntemou" userId="47d0fac9-7e29-4eb9-8125-8aa0f05d2f58" providerId="ADAL" clId="{9BE9A3FF-B6F1-4E53-A4B6-7AB372F49B09}" dt="2025-05-28T07:58:15.825" v="133" actId="6549"/>
          <ac:spMkLst>
            <pc:docMk/>
            <pc:sldMk cId="2994244721" sldId="415"/>
            <ac:spMk id="2" creationId="{0F67B521-8374-6300-7378-A12AF7D3E124}"/>
          </ac:spMkLst>
        </pc:spChg>
      </pc:sldChg>
      <pc:sldChg chg="addSp delSp modSp mod">
        <pc:chgData name="Eleni Ntemou" userId="47d0fac9-7e29-4eb9-8125-8aa0f05d2f58" providerId="ADAL" clId="{9BE9A3FF-B6F1-4E53-A4B6-7AB372F49B09}" dt="2025-05-28T07:51:46.825" v="19" actId="20577"/>
        <pc:sldMkLst>
          <pc:docMk/>
          <pc:sldMk cId="2921117281" sldId="417"/>
        </pc:sldMkLst>
        <pc:spChg chg="add mod">
          <ac:chgData name="Eleni Ntemou" userId="47d0fac9-7e29-4eb9-8125-8aa0f05d2f58" providerId="ADAL" clId="{9BE9A3FF-B6F1-4E53-A4B6-7AB372F49B09}" dt="2025-05-28T07:51:46.825" v="19" actId="20577"/>
          <ac:spMkLst>
            <pc:docMk/>
            <pc:sldMk cId="2921117281" sldId="417"/>
            <ac:spMk id="2" creationId="{1284EF5F-F222-963F-9084-ABFDF4E38510}"/>
          </ac:spMkLst>
        </pc:spChg>
      </pc:sldChg>
      <pc:sldChg chg="addSp delSp modSp mod">
        <pc:chgData name="Eleni Ntemou" userId="47d0fac9-7e29-4eb9-8125-8aa0f05d2f58" providerId="ADAL" clId="{9BE9A3FF-B6F1-4E53-A4B6-7AB372F49B09}" dt="2025-06-06T07:12:11.410" v="1470" actId="207"/>
        <pc:sldMkLst>
          <pc:docMk/>
          <pc:sldMk cId="3205524249" sldId="419"/>
        </pc:sldMkLst>
        <pc:spChg chg="add mod">
          <ac:chgData name="Eleni Ntemou" userId="47d0fac9-7e29-4eb9-8125-8aa0f05d2f58" providerId="ADAL" clId="{9BE9A3FF-B6F1-4E53-A4B6-7AB372F49B09}" dt="2025-05-28T07:52:19.101" v="23"/>
          <ac:spMkLst>
            <pc:docMk/>
            <pc:sldMk cId="3205524249" sldId="419"/>
            <ac:spMk id="2" creationId="{008A74D9-C511-02C9-DCCF-B30F85B18DB0}"/>
          </ac:spMkLst>
        </pc:spChg>
        <pc:graphicFrameChg chg="mod">
          <ac:chgData name="Eleni Ntemou" userId="47d0fac9-7e29-4eb9-8125-8aa0f05d2f58" providerId="ADAL" clId="{9BE9A3FF-B6F1-4E53-A4B6-7AB372F49B09}" dt="2025-06-06T07:12:11.410" v="1470" actId="207"/>
          <ac:graphicFrameMkLst>
            <pc:docMk/>
            <pc:sldMk cId="3205524249" sldId="419"/>
            <ac:graphicFrameMk id="12" creationId="{51DB100F-45F3-4B57-9B1A-3B33AB9568A0}"/>
          </ac:graphicFrameMkLst>
        </pc:graphicFrameChg>
      </pc:sldChg>
      <pc:sldChg chg="mod modShow">
        <pc:chgData name="Eleni Ntemou" userId="47d0fac9-7e29-4eb9-8125-8aa0f05d2f58" providerId="ADAL" clId="{9BE9A3FF-B6F1-4E53-A4B6-7AB372F49B09}" dt="2025-06-05T14:05:43.089" v="202" actId="729"/>
        <pc:sldMkLst>
          <pc:docMk/>
          <pc:sldMk cId="3407725128" sldId="420"/>
        </pc:sldMkLst>
      </pc:sldChg>
      <pc:sldChg chg="addSp delSp modSp mod">
        <pc:chgData name="Eleni Ntemou" userId="47d0fac9-7e29-4eb9-8125-8aa0f05d2f58" providerId="ADAL" clId="{9BE9A3FF-B6F1-4E53-A4B6-7AB372F49B09}" dt="2025-05-28T07:58:09.245" v="131" actId="478"/>
        <pc:sldMkLst>
          <pc:docMk/>
          <pc:sldMk cId="752467522" sldId="421"/>
        </pc:sldMkLst>
        <pc:spChg chg="add mod">
          <ac:chgData name="Eleni Ntemou" userId="47d0fac9-7e29-4eb9-8125-8aa0f05d2f58" providerId="ADAL" clId="{9BE9A3FF-B6F1-4E53-A4B6-7AB372F49B09}" dt="2025-05-28T07:58:04.816" v="130" actId="6549"/>
          <ac:spMkLst>
            <pc:docMk/>
            <pc:sldMk cId="752467522" sldId="421"/>
            <ac:spMk id="5" creationId="{B630288C-AF95-AE59-993E-1D7D20A61604}"/>
          </ac:spMkLst>
        </pc:spChg>
      </pc:sldChg>
      <pc:sldChg chg="addSp delSp modSp mod">
        <pc:chgData name="Eleni Ntemou" userId="47d0fac9-7e29-4eb9-8125-8aa0f05d2f58" providerId="ADAL" clId="{9BE9A3FF-B6F1-4E53-A4B6-7AB372F49B09}" dt="2025-05-28T07:58:26.387" v="135" actId="478"/>
        <pc:sldMkLst>
          <pc:docMk/>
          <pc:sldMk cId="1110358345" sldId="422"/>
        </pc:sldMkLst>
        <pc:spChg chg="add mod">
          <ac:chgData name="Eleni Ntemou" userId="47d0fac9-7e29-4eb9-8125-8aa0f05d2f58" providerId="ADAL" clId="{9BE9A3FF-B6F1-4E53-A4B6-7AB372F49B09}" dt="2025-05-28T07:58:19.203" v="134"/>
          <ac:spMkLst>
            <pc:docMk/>
            <pc:sldMk cId="1110358345" sldId="422"/>
            <ac:spMk id="11" creationId="{6638FBDF-0E92-9306-5E6A-8B17634FEBC5}"/>
          </ac:spMkLst>
        </pc:spChg>
      </pc:sldChg>
      <pc:sldChg chg="addSp delSp modSp mod">
        <pc:chgData name="Eleni Ntemou" userId="47d0fac9-7e29-4eb9-8125-8aa0f05d2f58" providerId="ADAL" clId="{9BE9A3FF-B6F1-4E53-A4B6-7AB372F49B09}" dt="2025-05-28T07:52:29.433" v="26" actId="478"/>
        <pc:sldMkLst>
          <pc:docMk/>
          <pc:sldMk cId="1072990374" sldId="423"/>
        </pc:sldMkLst>
        <pc:spChg chg="add mod">
          <ac:chgData name="Eleni Ntemou" userId="47d0fac9-7e29-4eb9-8125-8aa0f05d2f58" providerId="ADAL" clId="{9BE9A3FF-B6F1-4E53-A4B6-7AB372F49B09}" dt="2025-05-28T07:52:26.658" v="25"/>
          <ac:spMkLst>
            <pc:docMk/>
            <pc:sldMk cId="1072990374" sldId="423"/>
            <ac:spMk id="2" creationId="{EC868AB7-E601-A0E4-074B-AAEEA96D7C65}"/>
          </ac:spMkLst>
        </pc:spChg>
      </pc:sldChg>
      <pc:sldChg chg="addSp delSp modSp mod">
        <pc:chgData name="Eleni Ntemou" userId="47d0fac9-7e29-4eb9-8125-8aa0f05d2f58" providerId="ADAL" clId="{9BE9A3FF-B6F1-4E53-A4B6-7AB372F49B09}" dt="2025-06-06T07:08:26.644" v="1457" actId="20577"/>
        <pc:sldMkLst>
          <pc:docMk/>
          <pc:sldMk cId="1312678697" sldId="424"/>
        </pc:sldMkLst>
        <pc:spChg chg="add mod">
          <ac:chgData name="Eleni Ntemou" userId="47d0fac9-7e29-4eb9-8125-8aa0f05d2f58" providerId="ADAL" clId="{9BE9A3FF-B6F1-4E53-A4B6-7AB372F49B09}" dt="2025-05-28T07:58:28.326" v="136"/>
          <ac:spMkLst>
            <pc:docMk/>
            <pc:sldMk cId="1312678697" sldId="424"/>
            <ac:spMk id="2" creationId="{77AE5F57-555D-1C8C-C7CD-03973BBC53C0}"/>
          </ac:spMkLst>
        </pc:spChg>
        <pc:spChg chg="add mod">
          <ac:chgData name="Eleni Ntemou" userId="47d0fac9-7e29-4eb9-8125-8aa0f05d2f58" providerId="ADAL" clId="{9BE9A3FF-B6F1-4E53-A4B6-7AB372F49B09}" dt="2025-06-06T07:08:10.275" v="1455" actId="207"/>
          <ac:spMkLst>
            <pc:docMk/>
            <pc:sldMk cId="1312678697" sldId="424"/>
            <ac:spMk id="3" creationId="{0C182F84-57AA-6177-89EB-8E5A09395902}"/>
          </ac:spMkLst>
        </pc:spChg>
        <pc:spChg chg="add mod">
          <ac:chgData name="Eleni Ntemou" userId="47d0fac9-7e29-4eb9-8125-8aa0f05d2f58" providerId="ADAL" clId="{9BE9A3FF-B6F1-4E53-A4B6-7AB372F49B09}" dt="2025-06-06T07:08:01.262" v="1452" actId="207"/>
          <ac:spMkLst>
            <pc:docMk/>
            <pc:sldMk cId="1312678697" sldId="424"/>
            <ac:spMk id="4" creationId="{26D7CBD3-CDB4-B59B-1A06-3067B9003841}"/>
          </ac:spMkLst>
        </pc:spChg>
        <pc:spChg chg="add mod">
          <ac:chgData name="Eleni Ntemou" userId="47d0fac9-7e29-4eb9-8125-8aa0f05d2f58" providerId="ADAL" clId="{9BE9A3FF-B6F1-4E53-A4B6-7AB372F49B09}" dt="2025-06-06T07:08:26.644" v="1457" actId="20577"/>
          <ac:spMkLst>
            <pc:docMk/>
            <pc:sldMk cId="1312678697" sldId="424"/>
            <ac:spMk id="5" creationId="{675484F2-79D7-C1E8-3FA2-DF2B620D58DD}"/>
          </ac:spMkLst>
        </pc:spChg>
        <pc:spChg chg="mod">
          <ac:chgData name="Eleni Ntemou" userId="47d0fac9-7e29-4eb9-8125-8aa0f05d2f58" providerId="ADAL" clId="{9BE9A3FF-B6F1-4E53-A4B6-7AB372F49B09}" dt="2025-06-06T06:55:36.147" v="829" actId="20577"/>
          <ac:spMkLst>
            <pc:docMk/>
            <pc:sldMk cId="1312678697" sldId="424"/>
            <ac:spMk id="6" creationId="{AADDE974-9743-9921-F06E-98933B4D6811}"/>
          </ac:spMkLst>
        </pc:spChg>
        <pc:spChg chg="del mod">
          <ac:chgData name="Eleni Ntemou" userId="47d0fac9-7e29-4eb9-8125-8aa0f05d2f58" providerId="ADAL" clId="{9BE9A3FF-B6F1-4E53-A4B6-7AB372F49B09}" dt="2025-06-06T07:01:13.468" v="1134" actId="478"/>
          <ac:spMkLst>
            <pc:docMk/>
            <pc:sldMk cId="1312678697" sldId="424"/>
            <ac:spMk id="16" creationId="{DABA80A1-2B2A-8C3D-E16C-A6C40AA0E055}"/>
          </ac:spMkLst>
        </pc:spChg>
        <pc:grpChg chg="del">
          <ac:chgData name="Eleni Ntemou" userId="47d0fac9-7e29-4eb9-8125-8aa0f05d2f58" providerId="ADAL" clId="{9BE9A3FF-B6F1-4E53-A4B6-7AB372F49B09}" dt="2025-06-06T06:55:39.541" v="830" actId="478"/>
          <ac:grpSpMkLst>
            <pc:docMk/>
            <pc:sldMk cId="1312678697" sldId="424"/>
            <ac:grpSpMk id="20" creationId="{8F095C79-AF8E-0CD9-A1E7-646DD5B3F4E0}"/>
          </ac:grpSpMkLst>
        </pc:grpChg>
        <pc:grpChg chg="del">
          <ac:chgData name="Eleni Ntemou" userId="47d0fac9-7e29-4eb9-8125-8aa0f05d2f58" providerId="ADAL" clId="{9BE9A3FF-B6F1-4E53-A4B6-7AB372F49B09}" dt="2025-06-06T06:55:41.299" v="831" actId="478"/>
          <ac:grpSpMkLst>
            <pc:docMk/>
            <pc:sldMk cId="1312678697" sldId="424"/>
            <ac:grpSpMk id="21" creationId="{2CD1D240-FD87-A930-839D-D725ECCBDD0E}"/>
          </ac:grpSpMkLst>
        </pc:grpChg>
      </pc:sldChg>
      <pc:sldChg chg="addSp delSp modSp mod">
        <pc:chgData name="Eleni Ntemou" userId="47d0fac9-7e29-4eb9-8125-8aa0f05d2f58" providerId="ADAL" clId="{9BE9A3FF-B6F1-4E53-A4B6-7AB372F49B09}" dt="2025-05-28T07:53:31.961" v="37" actId="478"/>
        <pc:sldMkLst>
          <pc:docMk/>
          <pc:sldMk cId="2261793867" sldId="425"/>
        </pc:sldMkLst>
      </pc:sldChg>
      <pc:sldChg chg="addSp delSp modSp mod">
        <pc:chgData name="Eleni Ntemou" userId="47d0fac9-7e29-4eb9-8125-8aa0f05d2f58" providerId="ADAL" clId="{9BE9A3FF-B6F1-4E53-A4B6-7AB372F49B09}" dt="2025-06-06T06:53:22.821" v="820" actId="1076"/>
        <pc:sldMkLst>
          <pc:docMk/>
          <pc:sldMk cId="1591414803" sldId="426"/>
        </pc:sldMkLst>
        <pc:spChg chg="add mod">
          <ac:chgData name="Eleni Ntemou" userId="47d0fac9-7e29-4eb9-8125-8aa0f05d2f58" providerId="ADAL" clId="{9BE9A3FF-B6F1-4E53-A4B6-7AB372F49B09}" dt="2025-05-28T07:55:22.301" v="96" actId="20577"/>
          <ac:spMkLst>
            <pc:docMk/>
            <pc:sldMk cId="1591414803" sldId="426"/>
            <ac:spMk id="3" creationId="{5D5682E0-6329-B807-1190-2E2FE9CF2ACD}"/>
          </ac:spMkLst>
        </pc:spChg>
        <pc:spChg chg="add del">
          <ac:chgData name="Eleni Ntemou" userId="47d0fac9-7e29-4eb9-8125-8aa0f05d2f58" providerId="ADAL" clId="{9BE9A3FF-B6F1-4E53-A4B6-7AB372F49B09}" dt="2025-06-06T06:39:06.572" v="782" actId="22"/>
          <ac:spMkLst>
            <pc:docMk/>
            <pc:sldMk cId="1591414803" sldId="426"/>
            <ac:spMk id="4" creationId="{0E8170F8-943A-033F-ED2B-CC50271DB781}"/>
          </ac:spMkLst>
        </pc:spChg>
        <pc:spChg chg="mod">
          <ac:chgData name="Eleni Ntemou" userId="47d0fac9-7e29-4eb9-8125-8aa0f05d2f58" providerId="ADAL" clId="{9BE9A3FF-B6F1-4E53-A4B6-7AB372F49B09}" dt="2025-06-06T06:53:22.821" v="820" actId="1076"/>
          <ac:spMkLst>
            <pc:docMk/>
            <pc:sldMk cId="1591414803" sldId="426"/>
            <ac:spMk id="27" creationId="{D0DA5267-1F5C-FE76-39EC-A2854FFFC219}"/>
          </ac:spMkLst>
        </pc:spChg>
        <pc:graphicFrameChg chg="add del mod">
          <ac:chgData name="Eleni Ntemou" userId="47d0fac9-7e29-4eb9-8125-8aa0f05d2f58" providerId="ADAL" clId="{9BE9A3FF-B6F1-4E53-A4B6-7AB372F49B09}" dt="2025-06-06T06:51:20.723" v="793" actId="478"/>
          <ac:graphicFrameMkLst>
            <pc:docMk/>
            <pc:sldMk cId="1591414803" sldId="426"/>
            <ac:graphicFrameMk id="7" creationId="{66538CD8-5370-41B0-A130-99AEA3ED8EE0}"/>
          </ac:graphicFrameMkLst>
        </pc:graphicFrameChg>
        <pc:graphicFrameChg chg="add mod">
          <ac:chgData name="Eleni Ntemou" userId="47d0fac9-7e29-4eb9-8125-8aa0f05d2f58" providerId="ADAL" clId="{9BE9A3FF-B6F1-4E53-A4B6-7AB372F49B09}" dt="2025-06-06T06:53:07.303" v="817" actId="14100"/>
          <ac:graphicFrameMkLst>
            <pc:docMk/>
            <pc:sldMk cId="1591414803" sldId="426"/>
            <ac:graphicFrameMk id="8" creationId="{66538CD8-5370-41B0-A130-99AEA3ED8EE0}"/>
          </ac:graphicFrameMkLst>
        </pc:graphicFrameChg>
        <pc:graphicFrameChg chg="del">
          <ac:chgData name="Eleni Ntemou" userId="47d0fac9-7e29-4eb9-8125-8aa0f05d2f58" providerId="ADAL" clId="{9BE9A3FF-B6F1-4E53-A4B6-7AB372F49B09}" dt="2025-06-06T06:50:05.536" v="791" actId="478"/>
          <ac:graphicFrameMkLst>
            <pc:docMk/>
            <pc:sldMk cId="1591414803" sldId="426"/>
            <ac:graphicFrameMk id="24" creationId="{D2C87894-69FC-F287-DE6A-615049E89AC8}"/>
          </ac:graphicFrameMkLst>
        </pc:graphicFrameChg>
        <pc:picChg chg="mod">
          <ac:chgData name="Eleni Ntemou" userId="47d0fac9-7e29-4eb9-8125-8aa0f05d2f58" providerId="ADAL" clId="{9BE9A3FF-B6F1-4E53-A4B6-7AB372F49B09}" dt="2025-06-06T06:39:55.700" v="784" actId="1076"/>
          <ac:picMkLst>
            <pc:docMk/>
            <pc:sldMk cId="1591414803" sldId="426"/>
            <ac:picMk id="25" creationId="{9E7072EA-FEC3-6075-F281-507D4E282010}"/>
          </ac:picMkLst>
        </pc:picChg>
        <pc:picChg chg="mod">
          <ac:chgData name="Eleni Ntemou" userId="47d0fac9-7e29-4eb9-8125-8aa0f05d2f58" providerId="ADAL" clId="{9BE9A3FF-B6F1-4E53-A4B6-7AB372F49B09}" dt="2025-06-06T06:53:18.729" v="819" actId="1076"/>
          <ac:picMkLst>
            <pc:docMk/>
            <pc:sldMk cId="1591414803" sldId="426"/>
            <ac:picMk id="31" creationId="{D9D8F8A8-A703-6C49-BCE8-F3139C1A9102}"/>
          </ac:picMkLst>
        </pc:picChg>
      </pc:sldChg>
      <pc:sldChg chg="addSp delSp modSp mod">
        <pc:chgData name="Eleni Ntemou" userId="47d0fac9-7e29-4eb9-8125-8aa0f05d2f58" providerId="ADAL" clId="{9BE9A3FF-B6F1-4E53-A4B6-7AB372F49B09}" dt="2025-05-28T07:53:54.068" v="41" actId="14100"/>
        <pc:sldMkLst>
          <pc:docMk/>
          <pc:sldMk cId="3979248667" sldId="427"/>
        </pc:sldMkLst>
        <pc:spChg chg="add mod">
          <ac:chgData name="Eleni Ntemou" userId="47d0fac9-7e29-4eb9-8125-8aa0f05d2f58" providerId="ADAL" clId="{9BE9A3FF-B6F1-4E53-A4B6-7AB372F49B09}" dt="2025-05-28T07:53:42.960" v="39"/>
          <ac:spMkLst>
            <pc:docMk/>
            <pc:sldMk cId="3979248667" sldId="427"/>
            <ac:spMk id="3" creationId="{383E70B0-006A-67C6-C180-2019B5BAAA97}"/>
          </ac:spMkLst>
        </pc:spChg>
      </pc:sldChg>
      <pc:sldChg chg="addSp delSp modSp del mod">
        <pc:chgData name="Eleni Ntemou" userId="47d0fac9-7e29-4eb9-8125-8aa0f05d2f58" providerId="ADAL" clId="{9BE9A3FF-B6F1-4E53-A4B6-7AB372F49B09}" dt="2025-06-06T07:02:40.305" v="1177" actId="47"/>
        <pc:sldMkLst>
          <pc:docMk/>
          <pc:sldMk cId="2133935629" sldId="428"/>
        </pc:sldMkLst>
        <pc:spChg chg="add mod">
          <ac:chgData name="Eleni Ntemou" userId="47d0fac9-7e29-4eb9-8125-8aa0f05d2f58" providerId="ADAL" clId="{9BE9A3FF-B6F1-4E53-A4B6-7AB372F49B09}" dt="2025-05-28T07:58:33.725" v="138"/>
          <ac:spMkLst>
            <pc:docMk/>
            <pc:sldMk cId="2133935629" sldId="428"/>
            <ac:spMk id="11" creationId="{3E06AE5E-61DF-51E3-6F50-A6543481A907}"/>
          </ac:spMkLst>
        </pc:spChg>
      </pc:sldChg>
      <pc:sldChg chg="addSp delSp modSp del mod">
        <pc:chgData name="Eleni Ntemou" userId="47d0fac9-7e29-4eb9-8125-8aa0f05d2f58" providerId="ADAL" clId="{9BE9A3FF-B6F1-4E53-A4B6-7AB372F49B09}" dt="2025-06-06T07:08:15.488" v="1456" actId="47"/>
        <pc:sldMkLst>
          <pc:docMk/>
          <pc:sldMk cId="2898401671" sldId="429"/>
        </pc:sldMkLst>
        <pc:spChg chg="mod">
          <ac:chgData name="Eleni Ntemou" userId="47d0fac9-7e29-4eb9-8125-8aa0f05d2f58" providerId="ADAL" clId="{9BE9A3FF-B6F1-4E53-A4B6-7AB372F49B09}" dt="2025-06-06T06:55:23.341" v="823" actId="13926"/>
          <ac:spMkLst>
            <pc:docMk/>
            <pc:sldMk cId="2898401671" sldId="429"/>
            <ac:spMk id="2" creationId="{CF6405B4-EE52-7A5F-0F7C-29CE0F0F767F}"/>
          </ac:spMkLst>
        </pc:spChg>
        <pc:spChg chg="add mod">
          <ac:chgData name="Eleni Ntemou" userId="47d0fac9-7e29-4eb9-8125-8aa0f05d2f58" providerId="ADAL" clId="{9BE9A3FF-B6F1-4E53-A4B6-7AB372F49B09}" dt="2025-05-28T07:58:38.855" v="140"/>
          <ac:spMkLst>
            <pc:docMk/>
            <pc:sldMk cId="2898401671" sldId="429"/>
            <ac:spMk id="11" creationId="{2771C049-CB1F-10E1-2CF0-25373B933856}"/>
          </ac:spMkLst>
        </pc:spChg>
      </pc:sldChg>
      <pc:sldChg chg="addSp delSp modSp mod">
        <pc:chgData name="Eleni Ntemou" userId="47d0fac9-7e29-4eb9-8125-8aa0f05d2f58" providerId="ADAL" clId="{9BE9A3FF-B6F1-4E53-A4B6-7AB372F49B09}" dt="2025-05-28T07:54:15.036" v="46" actId="14100"/>
        <pc:sldMkLst>
          <pc:docMk/>
          <pc:sldMk cId="404241407" sldId="430"/>
        </pc:sldMkLst>
        <pc:spChg chg="add mod">
          <ac:chgData name="Eleni Ntemou" userId="47d0fac9-7e29-4eb9-8125-8aa0f05d2f58" providerId="ADAL" clId="{9BE9A3FF-B6F1-4E53-A4B6-7AB372F49B09}" dt="2025-05-28T07:54:05.092" v="44"/>
          <ac:spMkLst>
            <pc:docMk/>
            <pc:sldMk cId="404241407" sldId="430"/>
            <ac:spMk id="3" creationId="{DD1E1CF7-DE9C-01DB-4544-182E36ABDA06}"/>
          </ac:spMkLst>
        </pc:spChg>
        <pc:graphicFrameChg chg="mod">
          <ac:chgData name="Eleni Ntemou" userId="47d0fac9-7e29-4eb9-8125-8aa0f05d2f58" providerId="ADAL" clId="{9BE9A3FF-B6F1-4E53-A4B6-7AB372F49B09}" dt="2025-05-28T07:54:15.036" v="46" actId="14100"/>
          <ac:graphicFrameMkLst>
            <pc:docMk/>
            <pc:sldMk cId="404241407" sldId="430"/>
            <ac:graphicFrameMk id="12" creationId="{D976B149-BDCC-E87F-8F59-EE5A1A43CFD8}"/>
          </ac:graphicFrameMkLst>
        </pc:graphicFrameChg>
      </pc:sldChg>
      <pc:sldChg chg="addSp delSp modSp mod">
        <pc:chgData name="Eleni Ntemou" userId="47d0fac9-7e29-4eb9-8125-8aa0f05d2f58" providerId="ADAL" clId="{9BE9A3FF-B6F1-4E53-A4B6-7AB372F49B09}" dt="2025-05-28T07:58:48.798" v="144" actId="478"/>
        <pc:sldMkLst>
          <pc:docMk/>
          <pc:sldMk cId="113986529" sldId="431"/>
        </pc:sldMkLst>
        <pc:spChg chg="add mod">
          <ac:chgData name="Eleni Ntemou" userId="47d0fac9-7e29-4eb9-8125-8aa0f05d2f58" providerId="ADAL" clId="{9BE9A3FF-B6F1-4E53-A4B6-7AB372F49B09}" dt="2025-05-28T07:58:46.559" v="143"/>
          <ac:spMkLst>
            <pc:docMk/>
            <pc:sldMk cId="113986529" sldId="431"/>
            <ac:spMk id="2" creationId="{DF80EBC9-0F08-0819-FF2A-5722F7F4F497}"/>
          </ac:spMkLst>
        </pc:spChg>
      </pc:sldChg>
      <pc:sldChg chg="mod modShow">
        <pc:chgData name="Eleni Ntemou" userId="47d0fac9-7e29-4eb9-8125-8aa0f05d2f58" providerId="ADAL" clId="{9BE9A3FF-B6F1-4E53-A4B6-7AB372F49B09}" dt="2025-06-05T14:05:43.089" v="202" actId="729"/>
        <pc:sldMkLst>
          <pc:docMk/>
          <pc:sldMk cId="3727350265" sldId="9269"/>
        </pc:sldMkLst>
      </pc:sldChg>
      <pc:sldChg chg="addSp delSp modSp mod modShow">
        <pc:chgData name="Eleni Ntemou" userId="47d0fac9-7e29-4eb9-8125-8aa0f05d2f58" providerId="ADAL" clId="{9BE9A3FF-B6F1-4E53-A4B6-7AB372F49B09}" dt="2025-06-05T14:05:43.089" v="202" actId="729"/>
        <pc:sldMkLst>
          <pc:docMk/>
          <pc:sldMk cId="570510008" sldId="9270"/>
        </pc:sldMkLst>
        <pc:spChg chg="add mod">
          <ac:chgData name="Eleni Ntemou" userId="47d0fac9-7e29-4eb9-8125-8aa0f05d2f58" providerId="ADAL" clId="{9BE9A3FF-B6F1-4E53-A4B6-7AB372F49B09}" dt="2025-05-28T08:00:48.359" v="164" actId="20577"/>
          <ac:spMkLst>
            <pc:docMk/>
            <pc:sldMk cId="570510008" sldId="9270"/>
            <ac:spMk id="5" creationId="{CD39464B-A558-5321-37BD-7EB72164E6B8}"/>
          </ac:spMkLst>
        </pc:spChg>
      </pc:sldChg>
      <pc:sldChg chg="addSp delSp modSp mod modShow">
        <pc:chgData name="Eleni Ntemou" userId="47d0fac9-7e29-4eb9-8125-8aa0f05d2f58" providerId="ADAL" clId="{9BE9A3FF-B6F1-4E53-A4B6-7AB372F49B09}" dt="2025-06-05T14:05:43.089" v="202" actId="729"/>
        <pc:sldMkLst>
          <pc:docMk/>
          <pc:sldMk cId="1921677643" sldId="9271"/>
        </pc:sldMkLst>
        <pc:spChg chg="add mod">
          <ac:chgData name="Eleni Ntemou" userId="47d0fac9-7e29-4eb9-8125-8aa0f05d2f58" providerId="ADAL" clId="{9BE9A3FF-B6F1-4E53-A4B6-7AB372F49B09}" dt="2025-05-28T08:00:59.100" v="167"/>
          <ac:spMkLst>
            <pc:docMk/>
            <pc:sldMk cId="1921677643" sldId="9271"/>
            <ac:spMk id="3" creationId="{B3BF433E-ABF6-D95F-43E4-83F29B9ABF78}"/>
          </ac:spMkLst>
        </pc:spChg>
      </pc:sldChg>
      <pc:sldChg chg="addSp delSp modSp mod modShow">
        <pc:chgData name="Eleni Ntemou" userId="47d0fac9-7e29-4eb9-8125-8aa0f05d2f58" providerId="ADAL" clId="{9BE9A3FF-B6F1-4E53-A4B6-7AB372F49B09}" dt="2025-06-05T14:05:43.089" v="202" actId="729"/>
        <pc:sldMkLst>
          <pc:docMk/>
          <pc:sldMk cId="1999413269" sldId="9272"/>
        </pc:sldMkLst>
        <pc:spChg chg="add mod">
          <ac:chgData name="Eleni Ntemou" userId="47d0fac9-7e29-4eb9-8125-8aa0f05d2f58" providerId="ADAL" clId="{9BE9A3FF-B6F1-4E53-A4B6-7AB372F49B09}" dt="2025-05-28T08:01:07.253" v="169"/>
          <ac:spMkLst>
            <pc:docMk/>
            <pc:sldMk cId="1999413269" sldId="9272"/>
            <ac:spMk id="3" creationId="{A15AAE39-FA49-0389-3EF7-95190E12AE2C}"/>
          </ac:spMkLst>
        </pc:spChg>
      </pc:sldChg>
      <pc:sldChg chg="addSp delSp modSp mod modShow">
        <pc:chgData name="Eleni Ntemou" userId="47d0fac9-7e29-4eb9-8125-8aa0f05d2f58" providerId="ADAL" clId="{9BE9A3FF-B6F1-4E53-A4B6-7AB372F49B09}" dt="2025-06-05T14:05:43.089" v="202" actId="729"/>
        <pc:sldMkLst>
          <pc:docMk/>
          <pc:sldMk cId="405508131" sldId="9273"/>
        </pc:sldMkLst>
        <pc:spChg chg="add mod">
          <ac:chgData name="Eleni Ntemou" userId="47d0fac9-7e29-4eb9-8125-8aa0f05d2f58" providerId="ADAL" clId="{9BE9A3FF-B6F1-4E53-A4B6-7AB372F49B09}" dt="2025-05-28T08:01:12.856" v="171"/>
          <ac:spMkLst>
            <pc:docMk/>
            <pc:sldMk cId="405508131" sldId="9273"/>
            <ac:spMk id="3" creationId="{FC8A7858-7F7B-7D2B-E46E-6F6C02A71414}"/>
          </ac:spMkLst>
        </pc:spChg>
      </pc:sldChg>
      <pc:sldChg chg="addSp delSp modSp mod modShow">
        <pc:chgData name="Eleni Ntemou" userId="47d0fac9-7e29-4eb9-8125-8aa0f05d2f58" providerId="ADAL" clId="{9BE9A3FF-B6F1-4E53-A4B6-7AB372F49B09}" dt="2025-06-05T14:05:43.089" v="202" actId="729"/>
        <pc:sldMkLst>
          <pc:docMk/>
          <pc:sldMk cId="4228929672" sldId="9274"/>
        </pc:sldMkLst>
        <pc:spChg chg="add mod">
          <ac:chgData name="Eleni Ntemou" userId="47d0fac9-7e29-4eb9-8125-8aa0f05d2f58" providerId="ADAL" clId="{9BE9A3FF-B6F1-4E53-A4B6-7AB372F49B09}" dt="2025-05-28T08:01:27.268" v="173"/>
          <ac:spMkLst>
            <pc:docMk/>
            <pc:sldMk cId="4228929672" sldId="9274"/>
            <ac:spMk id="5" creationId="{F42665BA-E514-745F-1158-F156F396E48F}"/>
          </ac:spMkLst>
        </pc:spChg>
      </pc:sldChg>
      <pc:sldChg chg="addSp delSp modSp mod modShow">
        <pc:chgData name="Eleni Ntemou" userId="47d0fac9-7e29-4eb9-8125-8aa0f05d2f58" providerId="ADAL" clId="{9BE9A3FF-B6F1-4E53-A4B6-7AB372F49B09}" dt="2025-06-05T14:05:43.089" v="202" actId="729"/>
        <pc:sldMkLst>
          <pc:docMk/>
          <pc:sldMk cId="398512450" sldId="9275"/>
        </pc:sldMkLst>
        <pc:spChg chg="add mod">
          <ac:chgData name="Eleni Ntemou" userId="47d0fac9-7e29-4eb9-8125-8aa0f05d2f58" providerId="ADAL" clId="{9BE9A3FF-B6F1-4E53-A4B6-7AB372F49B09}" dt="2025-05-28T08:01:38.558" v="177"/>
          <ac:spMkLst>
            <pc:docMk/>
            <pc:sldMk cId="398512450" sldId="9275"/>
            <ac:spMk id="2" creationId="{80269EE0-5074-21F7-F1FF-7E73287109B8}"/>
          </ac:spMkLst>
        </pc:spChg>
      </pc:sldChg>
      <pc:sldChg chg="addSp delSp modSp mod">
        <pc:chgData name="Eleni Ntemou" userId="47d0fac9-7e29-4eb9-8125-8aa0f05d2f58" providerId="ADAL" clId="{9BE9A3FF-B6F1-4E53-A4B6-7AB372F49B09}" dt="2025-05-28T07:54:53.768" v="62" actId="478"/>
        <pc:sldMkLst>
          <pc:docMk/>
          <pc:sldMk cId="713585767" sldId="9276"/>
        </pc:sldMkLst>
        <pc:spChg chg="add mod">
          <ac:chgData name="Eleni Ntemou" userId="47d0fac9-7e29-4eb9-8125-8aa0f05d2f58" providerId="ADAL" clId="{9BE9A3FF-B6F1-4E53-A4B6-7AB372F49B09}" dt="2025-05-28T07:54:50.726" v="61"/>
          <ac:spMkLst>
            <pc:docMk/>
            <pc:sldMk cId="713585767" sldId="9276"/>
            <ac:spMk id="3" creationId="{4B71597B-B3B5-F12E-B296-8A92F1DC99CD}"/>
          </ac:spMkLst>
        </pc:spChg>
      </pc:sldChg>
      <pc:sldChg chg="addSp delSp modSp mod modShow">
        <pc:chgData name="Eleni Ntemou" userId="47d0fac9-7e29-4eb9-8125-8aa0f05d2f58" providerId="ADAL" clId="{9BE9A3FF-B6F1-4E53-A4B6-7AB372F49B09}" dt="2025-06-05T14:05:43.089" v="202" actId="729"/>
        <pc:sldMkLst>
          <pc:docMk/>
          <pc:sldMk cId="3931966941" sldId="9277"/>
        </pc:sldMkLst>
        <pc:spChg chg="add mod">
          <ac:chgData name="Eleni Ntemou" userId="47d0fac9-7e29-4eb9-8125-8aa0f05d2f58" providerId="ADAL" clId="{9BE9A3FF-B6F1-4E53-A4B6-7AB372F49B09}" dt="2025-05-28T08:01:33.128" v="175"/>
          <ac:spMkLst>
            <pc:docMk/>
            <pc:sldMk cId="3931966941" sldId="9277"/>
            <ac:spMk id="3" creationId="{D47BA4E2-331E-8828-1FD0-7D9E2FCBF517}"/>
          </ac:spMkLst>
        </pc:spChg>
      </pc:sldChg>
      <pc:sldChg chg="addSp delSp modSp mod modShow">
        <pc:chgData name="Eleni Ntemou" userId="47d0fac9-7e29-4eb9-8125-8aa0f05d2f58" providerId="ADAL" clId="{9BE9A3FF-B6F1-4E53-A4B6-7AB372F49B09}" dt="2025-06-05T14:05:43.089" v="202" actId="729"/>
        <pc:sldMkLst>
          <pc:docMk/>
          <pc:sldMk cId="2419612890" sldId="9278"/>
        </pc:sldMkLst>
        <pc:spChg chg="add mod">
          <ac:chgData name="Eleni Ntemou" userId="47d0fac9-7e29-4eb9-8125-8aa0f05d2f58" providerId="ADAL" clId="{9BE9A3FF-B6F1-4E53-A4B6-7AB372F49B09}" dt="2025-05-28T08:01:43.525" v="179"/>
          <ac:spMkLst>
            <pc:docMk/>
            <pc:sldMk cId="2419612890" sldId="9278"/>
            <ac:spMk id="2" creationId="{C2CCA66D-96ED-C5BE-1D1D-B588FF1DDD05}"/>
          </ac:spMkLst>
        </pc:spChg>
      </pc:sldChg>
      <pc:sldChg chg="addSp delSp modSp mod modShow">
        <pc:chgData name="Eleni Ntemou" userId="47d0fac9-7e29-4eb9-8125-8aa0f05d2f58" providerId="ADAL" clId="{9BE9A3FF-B6F1-4E53-A4B6-7AB372F49B09}" dt="2025-06-05T14:05:43.089" v="202" actId="729"/>
        <pc:sldMkLst>
          <pc:docMk/>
          <pc:sldMk cId="3187606485" sldId="9279"/>
        </pc:sldMkLst>
        <pc:spChg chg="add mod">
          <ac:chgData name="Eleni Ntemou" userId="47d0fac9-7e29-4eb9-8125-8aa0f05d2f58" providerId="ADAL" clId="{9BE9A3FF-B6F1-4E53-A4B6-7AB372F49B09}" dt="2025-05-28T08:01:51.627" v="182"/>
          <ac:spMkLst>
            <pc:docMk/>
            <pc:sldMk cId="3187606485" sldId="9279"/>
            <ac:spMk id="2" creationId="{1D457F3F-29E3-4632-E45B-005CEC5B7A67}"/>
          </ac:spMkLst>
        </pc:spChg>
      </pc:sldChg>
      <pc:sldChg chg="addSp delSp modSp mod modShow">
        <pc:chgData name="Eleni Ntemou" userId="47d0fac9-7e29-4eb9-8125-8aa0f05d2f58" providerId="ADAL" clId="{9BE9A3FF-B6F1-4E53-A4B6-7AB372F49B09}" dt="2025-06-05T14:05:43.089" v="202" actId="729"/>
        <pc:sldMkLst>
          <pc:docMk/>
          <pc:sldMk cId="1915008741" sldId="9280"/>
        </pc:sldMkLst>
        <pc:spChg chg="add mod">
          <ac:chgData name="Eleni Ntemou" userId="47d0fac9-7e29-4eb9-8125-8aa0f05d2f58" providerId="ADAL" clId="{9BE9A3FF-B6F1-4E53-A4B6-7AB372F49B09}" dt="2025-05-28T08:01:56.768" v="184"/>
          <ac:spMkLst>
            <pc:docMk/>
            <pc:sldMk cId="1915008741" sldId="9280"/>
            <ac:spMk id="2" creationId="{534746C5-8536-F5F5-F851-13B85138F06C}"/>
          </ac:spMkLst>
        </pc:spChg>
      </pc:sldChg>
      <pc:sldChg chg="addSp delSp modSp mod modShow">
        <pc:chgData name="Eleni Ntemou" userId="47d0fac9-7e29-4eb9-8125-8aa0f05d2f58" providerId="ADAL" clId="{9BE9A3FF-B6F1-4E53-A4B6-7AB372F49B09}" dt="2025-06-05T14:05:43.089" v="202" actId="729"/>
        <pc:sldMkLst>
          <pc:docMk/>
          <pc:sldMk cId="372485065" sldId="9281"/>
        </pc:sldMkLst>
        <pc:spChg chg="add mod">
          <ac:chgData name="Eleni Ntemou" userId="47d0fac9-7e29-4eb9-8125-8aa0f05d2f58" providerId="ADAL" clId="{9BE9A3FF-B6F1-4E53-A4B6-7AB372F49B09}" dt="2025-05-28T08:02:03.967" v="187"/>
          <ac:spMkLst>
            <pc:docMk/>
            <pc:sldMk cId="372485065" sldId="9281"/>
            <ac:spMk id="2" creationId="{A7F4D279-2067-54BF-2BAE-6C93E782890D}"/>
          </ac:spMkLst>
        </pc:spChg>
      </pc:sldChg>
      <pc:sldChg chg="addSp delSp modSp mod modShow">
        <pc:chgData name="Eleni Ntemou" userId="47d0fac9-7e29-4eb9-8125-8aa0f05d2f58" providerId="ADAL" clId="{9BE9A3FF-B6F1-4E53-A4B6-7AB372F49B09}" dt="2025-06-05T14:05:43.089" v="202" actId="729"/>
        <pc:sldMkLst>
          <pc:docMk/>
          <pc:sldMk cId="596730662" sldId="9282"/>
        </pc:sldMkLst>
        <pc:spChg chg="add mod">
          <ac:chgData name="Eleni Ntemou" userId="47d0fac9-7e29-4eb9-8125-8aa0f05d2f58" providerId="ADAL" clId="{9BE9A3FF-B6F1-4E53-A4B6-7AB372F49B09}" dt="2025-05-28T08:02:08.048" v="189"/>
          <ac:spMkLst>
            <pc:docMk/>
            <pc:sldMk cId="596730662" sldId="9282"/>
            <ac:spMk id="2" creationId="{6538D2F9-03C9-CC97-2468-15E74BE1666E}"/>
          </ac:spMkLst>
        </pc:spChg>
      </pc:sldChg>
      <pc:sldChg chg="addSp delSp modSp mod modShow">
        <pc:chgData name="Eleni Ntemou" userId="47d0fac9-7e29-4eb9-8125-8aa0f05d2f58" providerId="ADAL" clId="{9BE9A3FF-B6F1-4E53-A4B6-7AB372F49B09}" dt="2025-06-05T14:05:43.089" v="202" actId="729"/>
        <pc:sldMkLst>
          <pc:docMk/>
          <pc:sldMk cId="3040284453" sldId="9283"/>
        </pc:sldMkLst>
        <pc:spChg chg="add mod">
          <ac:chgData name="Eleni Ntemou" userId="47d0fac9-7e29-4eb9-8125-8aa0f05d2f58" providerId="ADAL" clId="{9BE9A3FF-B6F1-4E53-A4B6-7AB372F49B09}" dt="2025-05-28T08:02:12.111" v="191"/>
          <ac:spMkLst>
            <pc:docMk/>
            <pc:sldMk cId="3040284453" sldId="9283"/>
            <ac:spMk id="2" creationId="{E46FFE65-CF3F-F1AC-6595-3B6FBD769FFD}"/>
          </ac:spMkLst>
        </pc:spChg>
      </pc:sldChg>
      <pc:sldChg chg="mod modShow">
        <pc:chgData name="Eleni Ntemou" userId="47d0fac9-7e29-4eb9-8125-8aa0f05d2f58" providerId="ADAL" clId="{9BE9A3FF-B6F1-4E53-A4B6-7AB372F49B09}" dt="2025-06-05T14:05:43.089" v="202" actId="729"/>
        <pc:sldMkLst>
          <pc:docMk/>
          <pc:sldMk cId="1177040359" sldId="9284"/>
        </pc:sldMkLst>
      </pc:sldChg>
      <pc:sldChg chg="addSp delSp modSp mod modShow">
        <pc:chgData name="Eleni Ntemou" userId="47d0fac9-7e29-4eb9-8125-8aa0f05d2f58" providerId="ADAL" clId="{9BE9A3FF-B6F1-4E53-A4B6-7AB372F49B09}" dt="2025-06-05T14:05:43.089" v="202" actId="729"/>
        <pc:sldMkLst>
          <pc:docMk/>
          <pc:sldMk cId="1372956940" sldId="9285"/>
        </pc:sldMkLst>
        <pc:spChg chg="add mod">
          <ac:chgData name="Eleni Ntemou" userId="47d0fac9-7e29-4eb9-8125-8aa0f05d2f58" providerId="ADAL" clId="{9BE9A3FF-B6F1-4E53-A4B6-7AB372F49B09}" dt="2025-05-28T08:02:16.458" v="193"/>
          <ac:spMkLst>
            <pc:docMk/>
            <pc:sldMk cId="1372956940" sldId="9285"/>
            <ac:spMk id="9" creationId="{B53C76B0-7885-2B6E-B28C-3DB4F5F4F6EE}"/>
          </ac:spMkLst>
        </pc:spChg>
      </pc:sldChg>
      <pc:sldChg chg="addSp delSp modSp mod modShow">
        <pc:chgData name="Eleni Ntemou" userId="47d0fac9-7e29-4eb9-8125-8aa0f05d2f58" providerId="ADAL" clId="{9BE9A3FF-B6F1-4E53-A4B6-7AB372F49B09}" dt="2025-06-05T14:05:43.089" v="202" actId="729"/>
        <pc:sldMkLst>
          <pc:docMk/>
          <pc:sldMk cId="851565885" sldId="9287"/>
        </pc:sldMkLst>
        <pc:spChg chg="add mod">
          <ac:chgData name="Eleni Ntemou" userId="47d0fac9-7e29-4eb9-8125-8aa0f05d2f58" providerId="ADAL" clId="{9BE9A3FF-B6F1-4E53-A4B6-7AB372F49B09}" dt="2025-05-28T08:02:20.099" v="195"/>
          <ac:spMkLst>
            <pc:docMk/>
            <pc:sldMk cId="851565885" sldId="9287"/>
            <ac:spMk id="9" creationId="{8AC7F65F-F77A-CD61-22B6-68D89426E894}"/>
          </ac:spMkLst>
        </pc:spChg>
      </pc:sldChg>
      <pc:sldChg chg="addSp delSp modSp mod">
        <pc:chgData name="Eleni Ntemou" userId="47d0fac9-7e29-4eb9-8125-8aa0f05d2f58" providerId="ADAL" clId="{9BE9A3FF-B6F1-4E53-A4B6-7AB372F49B09}" dt="2025-05-28T07:57:30.849" v="123"/>
        <pc:sldMkLst>
          <pc:docMk/>
          <pc:sldMk cId="56793274" sldId="9288"/>
        </pc:sldMkLst>
        <pc:spChg chg="add mod">
          <ac:chgData name="Eleni Ntemou" userId="47d0fac9-7e29-4eb9-8125-8aa0f05d2f58" providerId="ADAL" clId="{9BE9A3FF-B6F1-4E53-A4B6-7AB372F49B09}" dt="2025-05-28T07:57:30.849" v="123"/>
          <ac:spMkLst>
            <pc:docMk/>
            <pc:sldMk cId="56793274" sldId="9288"/>
            <ac:spMk id="3" creationId="{5CA71A9F-5323-AFDA-83BA-964C149DC905}"/>
          </ac:spMkLst>
        </pc:spChg>
      </pc:sldChg>
      <pc:sldChg chg="addSp delSp modSp mod">
        <pc:chgData name="Eleni Ntemou" userId="47d0fac9-7e29-4eb9-8125-8aa0f05d2f58" providerId="ADAL" clId="{9BE9A3FF-B6F1-4E53-A4B6-7AB372F49B09}" dt="2025-05-28T07:59:02.858" v="148" actId="478"/>
        <pc:sldMkLst>
          <pc:docMk/>
          <pc:sldMk cId="2638987245" sldId="9290"/>
        </pc:sldMkLst>
        <pc:spChg chg="add mod">
          <ac:chgData name="Eleni Ntemou" userId="47d0fac9-7e29-4eb9-8125-8aa0f05d2f58" providerId="ADAL" clId="{9BE9A3FF-B6F1-4E53-A4B6-7AB372F49B09}" dt="2025-05-28T07:58:59.390" v="147"/>
          <ac:spMkLst>
            <pc:docMk/>
            <pc:sldMk cId="2638987245" sldId="9290"/>
            <ac:spMk id="23" creationId="{6A8B57FE-7A2C-BB2C-3DF3-6EDF67B9C711}"/>
          </ac:spMkLst>
        </pc:spChg>
      </pc:sldChg>
      <pc:sldChg chg="delSp modSp add del mod">
        <pc:chgData name="Eleni Ntemou" userId="47d0fac9-7e29-4eb9-8125-8aa0f05d2f58" providerId="ADAL" clId="{9BE9A3FF-B6F1-4E53-A4B6-7AB372F49B09}" dt="2025-06-06T06:31:32.169" v="339" actId="47"/>
        <pc:sldMkLst>
          <pc:docMk/>
          <pc:sldMk cId="3102269821" sldId="2147483619"/>
        </pc:sldMkLst>
        <pc:spChg chg="del mod">
          <ac:chgData name="Eleni Ntemou" userId="47d0fac9-7e29-4eb9-8125-8aa0f05d2f58" providerId="ADAL" clId="{9BE9A3FF-B6F1-4E53-A4B6-7AB372F49B09}" dt="2025-06-06T06:28:09.560" v="224"/>
          <ac:spMkLst>
            <pc:docMk/>
            <pc:sldMk cId="3102269821" sldId="2147483619"/>
            <ac:spMk id="4" creationId="{5D096537-0BEC-97F0-924B-0C059DF78940}"/>
          </ac:spMkLst>
        </pc:spChg>
        <pc:spChg chg="mod">
          <ac:chgData name="Eleni Ntemou" userId="47d0fac9-7e29-4eb9-8125-8aa0f05d2f58" providerId="ADAL" clId="{9BE9A3FF-B6F1-4E53-A4B6-7AB372F49B09}" dt="2025-06-06T06:23:01.457" v="205"/>
          <ac:spMkLst>
            <pc:docMk/>
            <pc:sldMk cId="3102269821" sldId="2147483619"/>
            <ac:spMk id="45" creationId="{AC454F6E-2074-DD5A-1C48-5D712C4BE584}"/>
          </ac:spMkLst>
        </pc:spChg>
        <pc:grpChg chg="del">
          <ac:chgData name="Eleni Ntemou" userId="47d0fac9-7e29-4eb9-8125-8aa0f05d2f58" providerId="ADAL" clId="{9BE9A3FF-B6F1-4E53-A4B6-7AB372F49B09}" dt="2025-06-06T06:28:23.464" v="226" actId="21"/>
          <ac:grpSpMkLst>
            <pc:docMk/>
            <pc:sldMk cId="3102269821" sldId="2147483619"/>
            <ac:grpSpMk id="14" creationId="{20F7623D-1B49-C4C3-7D3D-1EC66EB5D701}"/>
          </ac:grpSpMkLst>
        </pc:grpChg>
        <pc:graphicFrameChg chg="del">
          <ac:chgData name="Eleni Ntemou" userId="47d0fac9-7e29-4eb9-8125-8aa0f05d2f58" providerId="ADAL" clId="{9BE9A3FF-B6F1-4E53-A4B6-7AB372F49B09}" dt="2025-06-06T06:27:55.101" v="219" actId="21"/>
          <ac:graphicFrameMkLst>
            <pc:docMk/>
            <pc:sldMk cId="3102269821" sldId="2147483619"/>
            <ac:graphicFrameMk id="7" creationId="{D92ED898-8F8F-7CA1-B60F-5F2B3227EBE3}"/>
          </ac:graphicFrameMkLst>
        </pc:graphicFrameChg>
        <pc:graphicFrameChg chg="del">
          <ac:chgData name="Eleni Ntemou" userId="47d0fac9-7e29-4eb9-8125-8aa0f05d2f58" providerId="ADAL" clId="{9BE9A3FF-B6F1-4E53-A4B6-7AB372F49B09}" dt="2025-06-06T06:27:50.968" v="218" actId="478"/>
          <ac:graphicFrameMkLst>
            <pc:docMk/>
            <pc:sldMk cId="3102269821" sldId="2147483619"/>
            <ac:graphicFrameMk id="24" creationId="{7CA86178-93AD-7614-F2CA-2945F2318CA9}"/>
          </ac:graphicFrameMkLst>
        </pc:graphicFrameChg>
      </pc:sldChg>
      <pc:sldChg chg="addSp delSp modSp add mod">
        <pc:chgData name="Eleni Ntemou" userId="47d0fac9-7e29-4eb9-8125-8aa0f05d2f58" providerId="ADAL" clId="{9BE9A3FF-B6F1-4E53-A4B6-7AB372F49B09}" dt="2025-06-06T07:10:37.895" v="1461" actId="208"/>
        <pc:sldMkLst>
          <pc:docMk/>
          <pc:sldMk cId="1594510439" sldId="2147483620"/>
        </pc:sldMkLst>
        <pc:spChg chg="mod">
          <ac:chgData name="Eleni Ntemou" userId="47d0fac9-7e29-4eb9-8125-8aa0f05d2f58" providerId="ADAL" clId="{9BE9A3FF-B6F1-4E53-A4B6-7AB372F49B09}" dt="2025-06-06T06:36:31.843" v="660" actId="313"/>
          <ac:spMkLst>
            <pc:docMk/>
            <pc:sldMk cId="1594510439" sldId="2147483620"/>
            <ac:spMk id="6" creationId="{6CEE4EA0-088D-BDAE-F57B-843B0496681D}"/>
          </ac:spMkLst>
        </pc:spChg>
        <pc:spChg chg="mod">
          <ac:chgData name="Eleni Ntemou" userId="47d0fac9-7e29-4eb9-8125-8aa0f05d2f58" providerId="ADAL" clId="{9BE9A3FF-B6F1-4E53-A4B6-7AB372F49B09}" dt="2025-06-06T06:34:44.551" v="615" actId="20577"/>
          <ac:spMkLst>
            <pc:docMk/>
            <pc:sldMk cId="1594510439" sldId="2147483620"/>
            <ac:spMk id="8" creationId="{5C371433-1ED5-8599-1919-A575CA77C36A}"/>
          </ac:spMkLst>
        </pc:spChg>
        <pc:spChg chg="del">
          <ac:chgData name="Eleni Ntemou" userId="47d0fac9-7e29-4eb9-8125-8aa0f05d2f58" providerId="ADAL" clId="{9BE9A3FF-B6F1-4E53-A4B6-7AB372F49B09}" dt="2025-06-06T06:28:33.434" v="228" actId="478"/>
          <ac:spMkLst>
            <pc:docMk/>
            <pc:sldMk cId="1594510439" sldId="2147483620"/>
            <ac:spMk id="9" creationId="{29B9D25F-84F1-7789-7D21-94629A00CDA2}"/>
          </ac:spMkLst>
        </pc:spChg>
        <pc:spChg chg="del">
          <ac:chgData name="Eleni Ntemou" userId="47d0fac9-7e29-4eb9-8125-8aa0f05d2f58" providerId="ADAL" clId="{9BE9A3FF-B6F1-4E53-A4B6-7AB372F49B09}" dt="2025-06-06T06:28:35.808" v="229" actId="478"/>
          <ac:spMkLst>
            <pc:docMk/>
            <pc:sldMk cId="1594510439" sldId="2147483620"/>
            <ac:spMk id="10" creationId="{EFC19B2E-AC9A-F5EA-1598-548FA81FCCCD}"/>
          </ac:spMkLst>
        </pc:spChg>
        <pc:spChg chg="mod">
          <ac:chgData name="Eleni Ntemou" userId="47d0fac9-7e29-4eb9-8125-8aa0f05d2f58" providerId="ADAL" clId="{9BE9A3FF-B6F1-4E53-A4B6-7AB372F49B09}" dt="2025-06-06T06:34:08.571" v="493" actId="313"/>
          <ac:spMkLst>
            <pc:docMk/>
            <pc:sldMk cId="1594510439" sldId="2147483620"/>
            <ac:spMk id="11" creationId="{629C580C-B3D5-DFA7-D918-43D4B7B55496}"/>
          </ac:spMkLst>
        </pc:spChg>
        <pc:spChg chg="mod topLvl">
          <ac:chgData name="Eleni Ntemou" userId="47d0fac9-7e29-4eb9-8125-8aa0f05d2f58" providerId="ADAL" clId="{9BE9A3FF-B6F1-4E53-A4B6-7AB372F49B09}" dt="2025-06-06T06:37:33.847" v="765" actId="6549"/>
          <ac:spMkLst>
            <pc:docMk/>
            <pc:sldMk cId="1594510439" sldId="2147483620"/>
            <ac:spMk id="15" creationId="{FAC1403B-DF95-37FE-ADD0-9E8E48D28667}"/>
          </ac:spMkLst>
        </pc:spChg>
        <pc:spChg chg="mod topLvl">
          <ac:chgData name="Eleni Ntemou" userId="47d0fac9-7e29-4eb9-8125-8aa0f05d2f58" providerId="ADAL" clId="{9BE9A3FF-B6F1-4E53-A4B6-7AB372F49B09}" dt="2025-06-06T06:37:54.360" v="780" actId="20577"/>
          <ac:spMkLst>
            <pc:docMk/>
            <pc:sldMk cId="1594510439" sldId="2147483620"/>
            <ac:spMk id="17" creationId="{42B2067D-5AF8-9464-E7F8-D69EE2DC2A87}"/>
          </ac:spMkLst>
        </pc:spChg>
        <pc:grpChg chg="add del mod">
          <ac:chgData name="Eleni Ntemou" userId="47d0fac9-7e29-4eb9-8125-8aa0f05d2f58" providerId="ADAL" clId="{9BE9A3FF-B6F1-4E53-A4B6-7AB372F49B09}" dt="2025-06-06T06:28:48.709" v="232" actId="165"/>
          <ac:grpSpMkLst>
            <pc:docMk/>
            <pc:sldMk cId="1594510439" sldId="2147483620"/>
            <ac:grpSpMk id="14" creationId="{20F7623D-1B49-C4C3-7D3D-1EC66EB5D701}"/>
          </ac:grpSpMkLst>
        </pc:grpChg>
        <pc:graphicFrameChg chg="del">
          <ac:chgData name="Eleni Ntemou" userId="47d0fac9-7e29-4eb9-8125-8aa0f05d2f58" providerId="ADAL" clId="{9BE9A3FF-B6F1-4E53-A4B6-7AB372F49B09}" dt="2025-06-06T06:28:01.118" v="220" actId="478"/>
          <ac:graphicFrameMkLst>
            <pc:docMk/>
            <pc:sldMk cId="1594510439" sldId="2147483620"/>
            <ac:graphicFrameMk id="2" creationId="{FBFCF1AE-6ACB-7DD6-9040-7C1D22956660}"/>
          </ac:graphicFrameMkLst>
        </pc:graphicFrameChg>
        <pc:graphicFrameChg chg="del">
          <ac:chgData name="Eleni Ntemou" userId="47d0fac9-7e29-4eb9-8125-8aa0f05d2f58" providerId="ADAL" clId="{9BE9A3FF-B6F1-4E53-A4B6-7AB372F49B09}" dt="2025-06-06T06:28:30.247" v="227" actId="478"/>
          <ac:graphicFrameMkLst>
            <pc:docMk/>
            <pc:sldMk cId="1594510439" sldId="2147483620"/>
            <ac:graphicFrameMk id="3" creationId="{918BF91E-6A9E-48D3-046F-CC5299D36875}"/>
          </ac:graphicFrameMkLst>
        </pc:graphicFrameChg>
        <pc:graphicFrameChg chg="del">
          <ac:chgData name="Eleni Ntemou" userId="47d0fac9-7e29-4eb9-8125-8aa0f05d2f58" providerId="ADAL" clId="{9BE9A3FF-B6F1-4E53-A4B6-7AB372F49B09}" dt="2025-06-06T06:25:47.764" v="207" actId="478"/>
          <ac:graphicFrameMkLst>
            <pc:docMk/>
            <pc:sldMk cId="1594510439" sldId="2147483620"/>
            <ac:graphicFrameMk id="7" creationId="{98427D6E-A785-6DAB-25CE-4152A2DED068}"/>
          </ac:graphicFrameMkLst>
        </pc:graphicFrameChg>
        <pc:graphicFrameChg chg="add mod ord">
          <ac:chgData name="Eleni Ntemou" userId="47d0fac9-7e29-4eb9-8125-8aa0f05d2f58" providerId="ADAL" clId="{9BE9A3FF-B6F1-4E53-A4B6-7AB372F49B09}" dt="2025-06-06T06:36:38.979" v="661" actId="207"/>
          <ac:graphicFrameMkLst>
            <pc:docMk/>
            <pc:sldMk cId="1594510439" sldId="2147483620"/>
            <ac:graphicFrameMk id="12" creationId="{968C753B-2E68-9AC9-5DBD-D9C900CA399E}"/>
          </ac:graphicFrameMkLst>
        </pc:graphicFrameChg>
        <pc:graphicFrameChg chg="add mod">
          <ac:chgData name="Eleni Ntemou" userId="47d0fac9-7e29-4eb9-8125-8aa0f05d2f58" providerId="ADAL" clId="{9BE9A3FF-B6F1-4E53-A4B6-7AB372F49B09}" dt="2025-06-06T06:36:49.603" v="662" actId="208"/>
          <ac:graphicFrameMkLst>
            <pc:docMk/>
            <pc:sldMk cId="1594510439" sldId="2147483620"/>
            <ac:graphicFrameMk id="13" creationId="{D92ED898-8F8F-7CA1-B60F-5F2B3227EBE3}"/>
          </ac:graphicFrameMkLst>
        </pc:graphicFrameChg>
        <pc:graphicFrameChg chg="mod topLvl">
          <ac:chgData name="Eleni Ntemou" userId="47d0fac9-7e29-4eb9-8125-8aa0f05d2f58" providerId="ADAL" clId="{9BE9A3FF-B6F1-4E53-A4B6-7AB372F49B09}" dt="2025-06-06T07:10:37.895" v="1461" actId="208"/>
          <ac:graphicFrameMkLst>
            <pc:docMk/>
            <pc:sldMk cId="1594510439" sldId="2147483620"/>
            <ac:graphicFrameMk id="18" creationId="{78F27FF0-9ABB-C938-46A8-05E60464A5C4}"/>
          </ac:graphicFrameMkLst>
        </pc:graphicFrameChg>
        <pc:graphicFrameChg chg="mod topLvl">
          <ac:chgData name="Eleni Ntemou" userId="47d0fac9-7e29-4eb9-8125-8aa0f05d2f58" providerId="ADAL" clId="{9BE9A3FF-B6F1-4E53-A4B6-7AB372F49B09}" dt="2025-06-06T06:29:42.523" v="246" actId="1036"/>
          <ac:graphicFrameMkLst>
            <pc:docMk/>
            <pc:sldMk cId="1594510439" sldId="2147483620"/>
            <ac:graphicFrameMk id="19" creationId="{42785E69-4A20-96A8-E156-37182DB0A5F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Hlias\Desktop\vol.28%20data_updated%20NECP.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44.%20ALBA%20-%20HELLENIQ/8.%20Seminars/1.%20Journalists/data/graph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20(version%202).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Hlias\Desktop\licenses%20march%202025.xlsx" TargetMode="External"/><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Hlias\Desktop\vol.28%20data_updated%20NECP.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44.%20ALBA%20-%20HELLENIQ/8.%20Seminars/1.%20Journalists/data/New%20Microsoft%20Excel%20Worksheet.xlsx" TargetMode="External"/><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_7FFFFFE1_2158A3D6.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7FFFFFE2_966CFF8B.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7FFFFFE2_966CFF8B1.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7FFFFFE2_966CFF8B2.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7FFFFFE2_966CFF8B3.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7FFFFFE2_966CFF8B4.xlsb"/></Relationships>
</file>

<file path=ppt/charts/_rels/chart3.xml.rels><?xml version="1.0" encoding="UTF-8" standalone="yes"?>
<Relationships xmlns="http://schemas.openxmlformats.org/package/2006/relationships"><Relationship Id="rId3" Type="http://schemas.openxmlformats.org/officeDocument/2006/relationships/oleObject" Target="file:///C:\Users\Hlias\Desktop\vol.28%20data_updated%20NECP.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2.%20Energy%20Transition/2.%20Energy%20Transition.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5.xml"/><Relationship Id="rId2" Type="http://schemas.microsoft.com/office/2011/relationships/chartStyle" Target="style15.xml"/><Relationship Id="rId1"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1"/>
          <c:order val="1"/>
          <c:tx>
            <c:strRef>
              <c:f>'El production updated'!$A$4</c:f>
              <c:strCache>
                <c:ptCount val="1"/>
                <c:pt idx="0">
                  <c:v>Λιγνίτης</c:v>
                </c:pt>
              </c:strCache>
            </c:strRef>
          </c:tx>
          <c:spPr>
            <a:solidFill>
              <a:schemeClr val="bg2">
                <a:lumMod val="25000"/>
              </a:schemeClr>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4:$H$4</c:f>
              <c:numCache>
                <c:formatCode>General</c:formatCode>
                <c:ptCount val="7"/>
                <c:pt idx="0">
                  <c:v>5.8</c:v>
                </c:pt>
                <c:pt idx="1">
                  <c:v>4.5</c:v>
                </c:pt>
                <c:pt idx="2">
                  <c:v>0</c:v>
                </c:pt>
                <c:pt idx="3">
                  <c:v>0</c:v>
                </c:pt>
                <c:pt idx="4">
                  <c:v>0</c:v>
                </c:pt>
                <c:pt idx="5">
                  <c:v>0</c:v>
                </c:pt>
                <c:pt idx="6">
                  <c:v>0</c:v>
                </c:pt>
              </c:numCache>
            </c:numRef>
          </c:val>
          <c:extLst>
            <c:ext xmlns:c16="http://schemas.microsoft.com/office/drawing/2014/chart" uri="{C3380CC4-5D6E-409C-BE32-E72D297353CC}">
              <c16:uniqueId val="{00000000-89C6-4BC6-B680-9519B7501ADA}"/>
            </c:ext>
          </c:extLst>
        </c:ser>
        <c:ser>
          <c:idx val="2"/>
          <c:order val="2"/>
          <c:tx>
            <c:strRef>
              <c:f>'El production updated'!$A$5</c:f>
              <c:strCache>
                <c:ptCount val="1"/>
                <c:pt idx="0">
                  <c:v>Φυσικό αέριο</c:v>
                </c:pt>
              </c:strCache>
            </c:strRef>
          </c:tx>
          <c:spPr>
            <a:solidFill>
              <a:schemeClr val="tx2"/>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5:$H$5</c:f>
              <c:numCache>
                <c:formatCode>General</c:formatCode>
                <c:ptCount val="7"/>
                <c:pt idx="0">
                  <c:v>19.100000000000001</c:v>
                </c:pt>
                <c:pt idx="1">
                  <c:v>12.2</c:v>
                </c:pt>
                <c:pt idx="2">
                  <c:v>10.9</c:v>
                </c:pt>
                <c:pt idx="3">
                  <c:v>4.7</c:v>
                </c:pt>
                <c:pt idx="4">
                  <c:v>4.0999999999999996</c:v>
                </c:pt>
                <c:pt idx="5">
                  <c:v>2.9</c:v>
                </c:pt>
                <c:pt idx="6">
                  <c:v>3.8</c:v>
                </c:pt>
              </c:numCache>
            </c:numRef>
          </c:val>
          <c:extLst>
            <c:ext xmlns:c16="http://schemas.microsoft.com/office/drawing/2014/chart" uri="{C3380CC4-5D6E-409C-BE32-E72D297353CC}">
              <c16:uniqueId val="{00000001-89C6-4BC6-B680-9519B7501ADA}"/>
            </c:ext>
          </c:extLst>
        </c:ser>
        <c:ser>
          <c:idx val="3"/>
          <c:order val="3"/>
          <c:tx>
            <c:strRef>
              <c:f>'El production updated'!$A$6</c:f>
              <c:strCache>
                <c:ptCount val="1"/>
                <c:pt idx="0">
                  <c:v>Πετρέλαιο</c:v>
                </c:pt>
              </c:strCache>
            </c:strRef>
          </c:tx>
          <c:spPr>
            <a:solidFill>
              <a:schemeClr val="tx1">
                <a:lumMod val="75000"/>
              </a:schemeClr>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6:$H$6</c:f>
              <c:numCache>
                <c:formatCode>General</c:formatCode>
                <c:ptCount val="7"/>
                <c:pt idx="0">
                  <c:v>5.0999999999999996</c:v>
                </c:pt>
                <c:pt idx="1">
                  <c:v>1.8</c:v>
                </c:pt>
                <c:pt idx="2">
                  <c:v>0.3</c:v>
                </c:pt>
                <c:pt idx="3">
                  <c:v>0.3</c:v>
                </c:pt>
                <c:pt idx="4">
                  <c:v>0.2</c:v>
                </c:pt>
                <c:pt idx="5">
                  <c:v>0</c:v>
                </c:pt>
                <c:pt idx="6">
                  <c:v>0</c:v>
                </c:pt>
              </c:numCache>
            </c:numRef>
          </c:val>
          <c:extLst>
            <c:ext xmlns:c16="http://schemas.microsoft.com/office/drawing/2014/chart" uri="{C3380CC4-5D6E-409C-BE32-E72D297353CC}">
              <c16:uniqueId val="{00000002-89C6-4BC6-B680-9519B7501ADA}"/>
            </c:ext>
          </c:extLst>
        </c:ser>
        <c:ser>
          <c:idx val="4"/>
          <c:order val="4"/>
          <c:tx>
            <c:strRef>
              <c:f>'El production updated'!$A$7</c:f>
              <c:strCache>
                <c:ptCount val="1"/>
                <c:pt idx="0">
                  <c:v>Βιομάζα &amp; Βιοαέριο</c:v>
                </c:pt>
              </c:strCache>
            </c:strRef>
          </c:tx>
          <c:spPr>
            <a:solidFill>
              <a:schemeClr val="accent5">
                <a:lumMod val="40000"/>
                <a:lumOff val="60000"/>
              </a:schemeClr>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7:$H$7</c:f>
              <c:numCache>
                <c:formatCode>General</c:formatCode>
                <c:ptCount val="7"/>
                <c:pt idx="0">
                  <c:v>0.1</c:v>
                </c:pt>
                <c:pt idx="1">
                  <c:v>0.6</c:v>
                </c:pt>
                <c:pt idx="2">
                  <c:v>0.4</c:v>
                </c:pt>
                <c:pt idx="3">
                  <c:v>0</c:v>
                </c:pt>
                <c:pt idx="4">
                  <c:v>0</c:v>
                </c:pt>
                <c:pt idx="5">
                  <c:v>0.1</c:v>
                </c:pt>
                <c:pt idx="6">
                  <c:v>0</c:v>
                </c:pt>
              </c:numCache>
            </c:numRef>
          </c:val>
          <c:extLst>
            <c:ext xmlns:c16="http://schemas.microsoft.com/office/drawing/2014/chart" uri="{C3380CC4-5D6E-409C-BE32-E72D297353CC}">
              <c16:uniqueId val="{00000003-89C6-4BC6-B680-9519B7501ADA}"/>
            </c:ext>
          </c:extLst>
        </c:ser>
        <c:ser>
          <c:idx val="5"/>
          <c:order val="5"/>
          <c:tx>
            <c:strRef>
              <c:f>'El production updated'!$A$8</c:f>
              <c:strCache>
                <c:ptCount val="1"/>
                <c:pt idx="0">
                  <c:v>Φωτοβολταϊκά</c:v>
                </c:pt>
              </c:strCache>
            </c:strRef>
          </c:tx>
          <c:spPr>
            <a:solidFill>
              <a:schemeClr val="accent5"/>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8:$H$8</c:f>
              <c:numCache>
                <c:formatCode>General</c:formatCode>
                <c:ptCount val="7"/>
                <c:pt idx="0">
                  <c:v>7.1</c:v>
                </c:pt>
                <c:pt idx="1">
                  <c:v>13.1</c:v>
                </c:pt>
                <c:pt idx="2">
                  <c:v>20.9</c:v>
                </c:pt>
                <c:pt idx="3">
                  <c:v>28.7</c:v>
                </c:pt>
                <c:pt idx="4">
                  <c:v>40.1</c:v>
                </c:pt>
                <c:pt idx="5">
                  <c:v>47.1</c:v>
                </c:pt>
                <c:pt idx="6">
                  <c:v>54</c:v>
                </c:pt>
              </c:numCache>
            </c:numRef>
          </c:val>
          <c:extLst>
            <c:ext xmlns:c16="http://schemas.microsoft.com/office/drawing/2014/chart" uri="{C3380CC4-5D6E-409C-BE32-E72D297353CC}">
              <c16:uniqueId val="{00000004-89C6-4BC6-B680-9519B7501ADA}"/>
            </c:ext>
          </c:extLst>
        </c:ser>
        <c:ser>
          <c:idx val="6"/>
          <c:order val="6"/>
          <c:tx>
            <c:strRef>
              <c:f>'El production updated'!$A$9</c:f>
              <c:strCache>
                <c:ptCount val="1"/>
                <c:pt idx="0">
                  <c:v>Αιολικά χερσαία</c:v>
                </c:pt>
              </c:strCache>
            </c:strRef>
          </c:tx>
          <c:spPr>
            <a:solidFill>
              <a:schemeClr val="accent3">
                <a:lumMod val="75000"/>
              </a:schemeClr>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9:$H$9</c:f>
              <c:numCache>
                <c:formatCode>General</c:formatCode>
                <c:ptCount val="7"/>
                <c:pt idx="0">
                  <c:v>10.9</c:v>
                </c:pt>
                <c:pt idx="1">
                  <c:v>16.3</c:v>
                </c:pt>
                <c:pt idx="2">
                  <c:v>21.1</c:v>
                </c:pt>
                <c:pt idx="3">
                  <c:v>22.9</c:v>
                </c:pt>
                <c:pt idx="4">
                  <c:v>27</c:v>
                </c:pt>
                <c:pt idx="5">
                  <c:v>32</c:v>
                </c:pt>
                <c:pt idx="6">
                  <c:v>32.5</c:v>
                </c:pt>
              </c:numCache>
            </c:numRef>
          </c:val>
          <c:extLst>
            <c:ext xmlns:c16="http://schemas.microsoft.com/office/drawing/2014/chart" uri="{C3380CC4-5D6E-409C-BE32-E72D297353CC}">
              <c16:uniqueId val="{00000005-89C6-4BC6-B680-9519B7501ADA}"/>
            </c:ext>
          </c:extLst>
        </c:ser>
        <c:ser>
          <c:idx val="7"/>
          <c:order val="7"/>
          <c:tx>
            <c:strRef>
              <c:f>'El production updated'!$A$10</c:f>
              <c:strCache>
                <c:ptCount val="1"/>
                <c:pt idx="0">
                  <c:v>Αιολικά υπεράκτια</c:v>
                </c:pt>
              </c:strCache>
            </c:strRef>
          </c:tx>
          <c:spPr>
            <a:solidFill>
              <a:schemeClr val="accent3">
                <a:lumMod val="50000"/>
              </a:schemeClr>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10:$H$10</c:f>
              <c:numCache>
                <c:formatCode>General</c:formatCode>
                <c:ptCount val="7"/>
                <c:pt idx="0">
                  <c:v>0</c:v>
                </c:pt>
                <c:pt idx="1">
                  <c:v>0</c:v>
                </c:pt>
                <c:pt idx="2">
                  <c:v>0.6</c:v>
                </c:pt>
                <c:pt idx="3">
                  <c:v>15.4</c:v>
                </c:pt>
                <c:pt idx="4">
                  <c:v>22.8</c:v>
                </c:pt>
                <c:pt idx="5">
                  <c:v>32.4</c:v>
                </c:pt>
                <c:pt idx="6">
                  <c:v>46.5</c:v>
                </c:pt>
              </c:numCache>
            </c:numRef>
          </c:val>
          <c:extLst>
            <c:ext xmlns:c16="http://schemas.microsoft.com/office/drawing/2014/chart" uri="{C3380CC4-5D6E-409C-BE32-E72D297353CC}">
              <c16:uniqueId val="{00000006-89C6-4BC6-B680-9519B7501ADA}"/>
            </c:ext>
          </c:extLst>
        </c:ser>
        <c:ser>
          <c:idx val="8"/>
          <c:order val="8"/>
          <c:tx>
            <c:strRef>
              <c:f>'El production updated'!$A$11</c:f>
              <c:strCache>
                <c:ptCount val="1"/>
                <c:pt idx="0">
                  <c:v>Υδροηλεκτρικά</c:v>
                </c:pt>
              </c:strCache>
            </c:strRef>
          </c:tx>
          <c:spPr>
            <a:solidFill>
              <a:schemeClr val="accent1"/>
            </a:solidFill>
            <a:ln>
              <a:noFill/>
            </a:ln>
            <a:effectLst/>
          </c:spPr>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11:$H$11</c:f>
              <c:numCache>
                <c:formatCode>General</c:formatCode>
                <c:ptCount val="7"/>
                <c:pt idx="0">
                  <c:v>3.9</c:v>
                </c:pt>
                <c:pt idx="1">
                  <c:v>5.5</c:v>
                </c:pt>
                <c:pt idx="2">
                  <c:v>6.1</c:v>
                </c:pt>
                <c:pt idx="3">
                  <c:v>7</c:v>
                </c:pt>
                <c:pt idx="4">
                  <c:v>7.3</c:v>
                </c:pt>
                <c:pt idx="5">
                  <c:v>8.3000000000000007</c:v>
                </c:pt>
                <c:pt idx="6">
                  <c:v>8.6999999999999993</c:v>
                </c:pt>
              </c:numCache>
            </c:numRef>
          </c:val>
          <c:extLst>
            <c:ext xmlns:c16="http://schemas.microsoft.com/office/drawing/2014/chart" uri="{C3380CC4-5D6E-409C-BE32-E72D297353CC}">
              <c16:uniqueId val="{00000007-89C6-4BC6-B680-9519B7501ADA}"/>
            </c:ext>
          </c:extLst>
        </c:ser>
        <c:dLbls>
          <c:showLegendKey val="0"/>
          <c:showVal val="0"/>
          <c:showCatName val="0"/>
          <c:showSerName val="0"/>
          <c:showPercent val="0"/>
          <c:showBubbleSize val="0"/>
        </c:dLbls>
        <c:axId val="101088528"/>
        <c:axId val="101100528"/>
      </c:areaChart>
      <c:lineChart>
        <c:grouping val="standard"/>
        <c:varyColors val="0"/>
        <c:ser>
          <c:idx val="0"/>
          <c:order val="0"/>
          <c:tx>
            <c:strRef>
              <c:f>'El production updated'!$A$3</c:f>
              <c:strCache>
                <c:ptCount val="1"/>
                <c:pt idx="0">
                  <c:v>Σύνολο Καθαρής Ηλεκτροπαραγωγής [TWh]</c:v>
                </c:pt>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l production updated'!$B$2:$H$2</c:f>
              <c:numCache>
                <c:formatCode>General</c:formatCode>
                <c:ptCount val="7"/>
                <c:pt idx="0">
                  <c:v>2022</c:v>
                </c:pt>
                <c:pt idx="1">
                  <c:v>2025</c:v>
                </c:pt>
                <c:pt idx="2">
                  <c:v>2030</c:v>
                </c:pt>
                <c:pt idx="3">
                  <c:v>2035</c:v>
                </c:pt>
                <c:pt idx="4">
                  <c:v>2040</c:v>
                </c:pt>
                <c:pt idx="5">
                  <c:v>2045</c:v>
                </c:pt>
                <c:pt idx="6">
                  <c:v>2050</c:v>
                </c:pt>
              </c:numCache>
            </c:numRef>
          </c:cat>
          <c:val>
            <c:numRef>
              <c:f>'El production updated'!$B$3:$H$3</c:f>
              <c:numCache>
                <c:formatCode>General</c:formatCode>
                <c:ptCount val="7"/>
                <c:pt idx="0">
                  <c:v>52</c:v>
                </c:pt>
                <c:pt idx="1">
                  <c:v>53.9</c:v>
                </c:pt>
                <c:pt idx="2">
                  <c:v>60.4</c:v>
                </c:pt>
                <c:pt idx="3">
                  <c:v>78.8</c:v>
                </c:pt>
                <c:pt idx="4">
                  <c:v>101.5</c:v>
                </c:pt>
                <c:pt idx="5">
                  <c:v>122.9</c:v>
                </c:pt>
                <c:pt idx="6">
                  <c:v>145.5</c:v>
                </c:pt>
              </c:numCache>
            </c:numRef>
          </c:val>
          <c:smooth val="0"/>
          <c:extLst>
            <c:ext xmlns:c16="http://schemas.microsoft.com/office/drawing/2014/chart" uri="{C3380CC4-5D6E-409C-BE32-E72D297353CC}">
              <c16:uniqueId val="{00000008-89C6-4BC6-B680-9519B7501ADA}"/>
            </c:ext>
          </c:extLst>
        </c:ser>
        <c:dLbls>
          <c:showLegendKey val="0"/>
          <c:showVal val="0"/>
          <c:showCatName val="0"/>
          <c:showSerName val="0"/>
          <c:showPercent val="0"/>
          <c:showBubbleSize val="0"/>
        </c:dLbls>
        <c:marker val="1"/>
        <c:smooth val="0"/>
        <c:axId val="101088528"/>
        <c:axId val="101100528"/>
      </c:lineChart>
      <c:catAx>
        <c:axId val="101088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100528"/>
        <c:crosses val="autoZero"/>
        <c:auto val="1"/>
        <c:lblAlgn val="ctr"/>
        <c:lblOffset val="100"/>
        <c:noMultiLvlLbl val="0"/>
      </c:catAx>
      <c:valAx>
        <c:axId val="1011005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10885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28917520474245E-2"/>
          <c:y val="7.1264020698703676E-2"/>
          <c:w val="0.89646592194085595"/>
          <c:h val="0.77844490378081899"/>
        </c:manualLayout>
      </c:layout>
      <c:lineChart>
        <c:grouping val="standard"/>
        <c:varyColors val="0"/>
        <c:ser>
          <c:idx val="0"/>
          <c:order val="0"/>
          <c:tx>
            <c:strRef>
              <c:f>'Capacities EU'!$B$169</c:f>
              <c:strCache>
                <c:ptCount val="1"/>
                <c:pt idx="0">
                  <c:v>Solar</c:v>
                </c:pt>
              </c:strCache>
            </c:strRef>
          </c:tx>
          <c:spPr>
            <a:ln w="28575" cap="rnd">
              <a:solidFill>
                <a:schemeClr val="accent5"/>
              </a:solidFill>
              <a:round/>
            </a:ln>
            <a:effectLst/>
          </c:spPr>
          <c:marker>
            <c:symbol val="none"/>
          </c:marker>
          <c:cat>
            <c:numRef>
              <c:f>'Capacities EU'!$F$168:$N$168</c:f>
              <c:numCache>
                <c:formatCode>@</c:formatCode>
                <c:ptCount val="9"/>
                <c:pt idx="0">
                  <c:v>2017</c:v>
                </c:pt>
                <c:pt idx="1">
                  <c:v>2018</c:v>
                </c:pt>
                <c:pt idx="2">
                  <c:v>2019</c:v>
                </c:pt>
                <c:pt idx="3">
                  <c:v>2020</c:v>
                </c:pt>
                <c:pt idx="4">
                  <c:v>2021</c:v>
                </c:pt>
                <c:pt idx="5">
                  <c:v>2022</c:v>
                </c:pt>
                <c:pt idx="6">
                  <c:v>2023</c:v>
                </c:pt>
                <c:pt idx="7">
                  <c:v>2024</c:v>
                </c:pt>
                <c:pt idx="8">
                  <c:v>2025</c:v>
                </c:pt>
              </c:numCache>
            </c:numRef>
          </c:cat>
          <c:val>
            <c:numRef>
              <c:f>'Capacities EU'!$F$169:$N$169</c:f>
              <c:numCache>
                <c:formatCode>@</c:formatCode>
                <c:ptCount val="9"/>
                <c:pt idx="0">
                  <c:v>75655</c:v>
                </c:pt>
                <c:pt idx="1">
                  <c:v>77795</c:v>
                </c:pt>
                <c:pt idx="2">
                  <c:v>87416</c:v>
                </c:pt>
                <c:pt idx="3">
                  <c:v>99848</c:v>
                </c:pt>
                <c:pt idx="4">
                  <c:v>117932</c:v>
                </c:pt>
                <c:pt idx="5">
                  <c:v>134852</c:v>
                </c:pt>
                <c:pt idx="6">
                  <c:v>165357</c:v>
                </c:pt>
                <c:pt idx="7">
                  <c:v>211116</c:v>
                </c:pt>
                <c:pt idx="8">
                  <c:v>245667</c:v>
                </c:pt>
              </c:numCache>
            </c:numRef>
          </c:val>
          <c:smooth val="1"/>
          <c:extLst>
            <c:ext xmlns:c16="http://schemas.microsoft.com/office/drawing/2014/chart" uri="{C3380CC4-5D6E-409C-BE32-E72D297353CC}">
              <c16:uniqueId val="{00000000-5716-4019-BD7A-15135A03D41F}"/>
            </c:ext>
          </c:extLst>
        </c:ser>
        <c:ser>
          <c:idx val="1"/>
          <c:order val="1"/>
          <c:tx>
            <c:strRef>
              <c:f>'Capacities EU'!$B$170</c:f>
              <c:strCache>
                <c:ptCount val="1"/>
                <c:pt idx="0">
                  <c:v>Wind</c:v>
                </c:pt>
              </c:strCache>
            </c:strRef>
          </c:tx>
          <c:spPr>
            <a:ln w="28575" cap="rnd">
              <a:solidFill>
                <a:srgbClr val="126F05"/>
              </a:solidFill>
              <a:round/>
            </a:ln>
            <a:effectLst/>
          </c:spPr>
          <c:marker>
            <c:symbol val="none"/>
          </c:marker>
          <c:cat>
            <c:numRef>
              <c:f>'Capacities EU'!$F$168:$N$168</c:f>
              <c:numCache>
                <c:formatCode>@</c:formatCode>
                <c:ptCount val="9"/>
                <c:pt idx="0">
                  <c:v>2017</c:v>
                </c:pt>
                <c:pt idx="1">
                  <c:v>2018</c:v>
                </c:pt>
                <c:pt idx="2">
                  <c:v>2019</c:v>
                </c:pt>
                <c:pt idx="3">
                  <c:v>2020</c:v>
                </c:pt>
                <c:pt idx="4">
                  <c:v>2021</c:v>
                </c:pt>
                <c:pt idx="5">
                  <c:v>2022</c:v>
                </c:pt>
                <c:pt idx="6">
                  <c:v>2023</c:v>
                </c:pt>
                <c:pt idx="7">
                  <c:v>2024</c:v>
                </c:pt>
                <c:pt idx="8">
                  <c:v>2025</c:v>
                </c:pt>
              </c:numCache>
            </c:numRef>
          </c:cat>
          <c:val>
            <c:numRef>
              <c:f>'Capacities EU'!$F$170:$N$170</c:f>
              <c:numCache>
                <c:formatCode>@</c:formatCode>
                <c:ptCount val="9"/>
                <c:pt idx="0">
                  <c:v>139160</c:v>
                </c:pt>
                <c:pt idx="1">
                  <c:v>147532</c:v>
                </c:pt>
                <c:pt idx="2">
                  <c:v>153833</c:v>
                </c:pt>
                <c:pt idx="3">
                  <c:v>166831</c:v>
                </c:pt>
                <c:pt idx="4">
                  <c:v>174697</c:v>
                </c:pt>
                <c:pt idx="5">
                  <c:v>185424</c:v>
                </c:pt>
                <c:pt idx="6">
                  <c:v>200293</c:v>
                </c:pt>
                <c:pt idx="7">
                  <c:v>214250</c:v>
                </c:pt>
                <c:pt idx="8">
                  <c:v>216357</c:v>
                </c:pt>
              </c:numCache>
            </c:numRef>
          </c:val>
          <c:smooth val="1"/>
          <c:extLst>
            <c:ext xmlns:c16="http://schemas.microsoft.com/office/drawing/2014/chart" uri="{C3380CC4-5D6E-409C-BE32-E72D297353CC}">
              <c16:uniqueId val="{00000001-5716-4019-BD7A-15135A03D41F}"/>
            </c:ext>
          </c:extLst>
        </c:ser>
        <c:ser>
          <c:idx val="2"/>
          <c:order val="2"/>
          <c:tx>
            <c:strRef>
              <c:f>'Capacities EU'!$B$171</c:f>
              <c:strCache>
                <c:ptCount val="1"/>
                <c:pt idx="0">
                  <c:v>Total</c:v>
                </c:pt>
              </c:strCache>
            </c:strRef>
          </c:tx>
          <c:spPr>
            <a:ln w="28575" cap="rnd">
              <a:solidFill>
                <a:schemeClr val="tx1"/>
              </a:solidFill>
              <a:round/>
            </a:ln>
            <a:effectLst/>
          </c:spPr>
          <c:marker>
            <c:symbol val="none"/>
          </c:marker>
          <c:dPt>
            <c:idx val="8"/>
            <c:marker>
              <c:symbol val="none"/>
            </c:marker>
            <c:bubble3D val="0"/>
            <c:spPr>
              <a:ln w="28575" cap="rnd">
                <a:solidFill>
                  <a:schemeClr val="tx1"/>
                </a:solidFill>
                <a:round/>
                <a:tailEnd type="stealth"/>
              </a:ln>
              <a:effectLst/>
            </c:spPr>
            <c:extLst>
              <c:ext xmlns:c16="http://schemas.microsoft.com/office/drawing/2014/chart" uri="{C3380CC4-5D6E-409C-BE32-E72D297353CC}">
                <c16:uniqueId val="{00000003-5716-4019-BD7A-15135A03D41F}"/>
              </c:ext>
            </c:extLst>
          </c:dPt>
          <c:val>
            <c:numRef>
              <c:f>'Capacities EU'!$F$171:$N$171</c:f>
              <c:numCache>
                <c:formatCode>@</c:formatCode>
                <c:ptCount val="9"/>
                <c:pt idx="0">
                  <c:v>214815</c:v>
                </c:pt>
                <c:pt idx="1">
                  <c:v>225327</c:v>
                </c:pt>
                <c:pt idx="2">
                  <c:v>241249</c:v>
                </c:pt>
                <c:pt idx="3">
                  <c:v>266679</c:v>
                </c:pt>
                <c:pt idx="4">
                  <c:v>292629</c:v>
                </c:pt>
                <c:pt idx="5">
                  <c:v>320276</c:v>
                </c:pt>
                <c:pt idx="6">
                  <c:v>365650</c:v>
                </c:pt>
                <c:pt idx="7">
                  <c:v>425366</c:v>
                </c:pt>
                <c:pt idx="8">
                  <c:v>462024</c:v>
                </c:pt>
              </c:numCache>
            </c:numRef>
          </c:val>
          <c:smooth val="1"/>
          <c:extLst>
            <c:ext xmlns:c16="http://schemas.microsoft.com/office/drawing/2014/chart" uri="{C3380CC4-5D6E-409C-BE32-E72D297353CC}">
              <c16:uniqueId val="{00000004-5716-4019-BD7A-15135A03D41F}"/>
            </c:ext>
          </c:extLst>
        </c:ser>
        <c:dLbls>
          <c:showLegendKey val="0"/>
          <c:showVal val="0"/>
          <c:showCatName val="0"/>
          <c:showSerName val="0"/>
          <c:showPercent val="0"/>
          <c:showBubbleSize val="0"/>
        </c:dLbls>
        <c:smooth val="0"/>
        <c:axId val="1622480688"/>
        <c:axId val="1622478288"/>
      </c:lineChart>
      <c:catAx>
        <c:axId val="1622480688"/>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22478288"/>
        <c:crosses val="autoZero"/>
        <c:auto val="1"/>
        <c:lblAlgn val="ctr"/>
        <c:lblOffset val="100"/>
        <c:noMultiLvlLbl val="0"/>
      </c:catAx>
      <c:valAx>
        <c:axId val="16224782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22480688"/>
        <c:crosses val="autoZero"/>
        <c:crossBetween val="between"/>
      </c:valAx>
      <c:spPr>
        <a:noFill/>
        <a:ln>
          <a:noFill/>
        </a:ln>
        <a:effectLst/>
      </c:spPr>
    </c:plotArea>
    <c:legend>
      <c:legendPos val="t"/>
      <c:layout>
        <c:manualLayout>
          <c:xMode val="edge"/>
          <c:yMode val="edge"/>
          <c:x val="0.30797005105712227"/>
          <c:y val="8.1854286834294673E-2"/>
          <c:w val="0.36665250316965359"/>
          <c:h val="9.575987007896061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9524965082437"/>
          <c:y val="3.3526732971436955E-2"/>
          <c:w val="0.88107723815859851"/>
          <c:h val="0.82652042809819093"/>
        </c:manualLayout>
      </c:layout>
      <c:lineChart>
        <c:grouping val="standard"/>
        <c:varyColors val="0"/>
        <c:ser>
          <c:idx val="0"/>
          <c:order val="0"/>
          <c:tx>
            <c:strRef>
              <c:f>'Capacities EU'!$B$172</c:f>
              <c:strCache>
                <c:ptCount val="1"/>
                <c:pt idx="0">
                  <c:v>Solar</c:v>
                </c:pt>
              </c:strCache>
            </c:strRef>
          </c:tx>
          <c:spPr>
            <a:ln w="28575" cap="rnd">
              <a:solidFill>
                <a:srgbClr val="FFC000"/>
              </a:solidFill>
              <a:round/>
            </a:ln>
            <a:effectLst/>
          </c:spPr>
          <c:marker>
            <c:symbol val="none"/>
          </c:marker>
          <c:cat>
            <c:numRef>
              <c:f>'Capacities EU'!$F$168:$N$168</c:f>
              <c:numCache>
                <c:formatCode>@</c:formatCode>
                <c:ptCount val="9"/>
                <c:pt idx="0">
                  <c:v>2017</c:v>
                </c:pt>
                <c:pt idx="1">
                  <c:v>2018</c:v>
                </c:pt>
                <c:pt idx="2">
                  <c:v>2019</c:v>
                </c:pt>
                <c:pt idx="3">
                  <c:v>2020</c:v>
                </c:pt>
                <c:pt idx="4">
                  <c:v>2021</c:v>
                </c:pt>
                <c:pt idx="5">
                  <c:v>2022</c:v>
                </c:pt>
                <c:pt idx="6">
                  <c:v>2023</c:v>
                </c:pt>
                <c:pt idx="7">
                  <c:v>2024</c:v>
                </c:pt>
                <c:pt idx="8">
                  <c:v>2025</c:v>
                </c:pt>
              </c:numCache>
            </c:numRef>
          </c:cat>
          <c:val>
            <c:numRef>
              <c:f>'Capacities EU'!$F$172:$N$172</c:f>
              <c:numCache>
                <c:formatCode>@</c:formatCode>
                <c:ptCount val="9"/>
                <c:pt idx="0">
                  <c:v>2441</c:v>
                </c:pt>
                <c:pt idx="1">
                  <c:v>2441</c:v>
                </c:pt>
                <c:pt idx="2">
                  <c:v>2441</c:v>
                </c:pt>
                <c:pt idx="3">
                  <c:v>2606</c:v>
                </c:pt>
                <c:pt idx="4">
                  <c:v>3055</c:v>
                </c:pt>
                <c:pt idx="5">
                  <c:v>3820</c:v>
                </c:pt>
                <c:pt idx="6">
                  <c:v>5100</c:v>
                </c:pt>
                <c:pt idx="7">
                  <c:v>6700</c:v>
                </c:pt>
                <c:pt idx="8">
                  <c:v>9000</c:v>
                </c:pt>
              </c:numCache>
            </c:numRef>
          </c:val>
          <c:smooth val="0"/>
          <c:extLst>
            <c:ext xmlns:c16="http://schemas.microsoft.com/office/drawing/2014/chart" uri="{C3380CC4-5D6E-409C-BE32-E72D297353CC}">
              <c16:uniqueId val="{00000000-3909-456D-A41C-67A164A5BA8A}"/>
            </c:ext>
          </c:extLst>
        </c:ser>
        <c:ser>
          <c:idx val="1"/>
          <c:order val="1"/>
          <c:tx>
            <c:strRef>
              <c:f>'Capacities EU'!$B$173</c:f>
              <c:strCache>
                <c:ptCount val="1"/>
                <c:pt idx="0">
                  <c:v>Wind</c:v>
                </c:pt>
              </c:strCache>
            </c:strRef>
          </c:tx>
          <c:spPr>
            <a:ln w="28575" cap="rnd">
              <a:solidFill>
                <a:srgbClr val="126F05"/>
              </a:solidFill>
              <a:round/>
            </a:ln>
            <a:effectLst/>
          </c:spPr>
          <c:marker>
            <c:symbol val="none"/>
          </c:marker>
          <c:cat>
            <c:numRef>
              <c:f>'Capacities EU'!$F$168:$N$168</c:f>
              <c:numCache>
                <c:formatCode>@</c:formatCode>
                <c:ptCount val="9"/>
                <c:pt idx="0">
                  <c:v>2017</c:v>
                </c:pt>
                <c:pt idx="1">
                  <c:v>2018</c:v>
                </c:pt>
                <c:pt idx="2">
                  <c:v>2019</c:v>
                </c:pt>
                <c:pt idx="3">
                  <c:v>2020</c:v>
                </c:pt>
                <c:pt idx="4">
                  <c:v>2021</c:v>
                </c:pt>
                <c:pt idx="5">
                  <c:v>2022</c:v>
                </c:pt>
                <c:pt idx="6">
                  <c:v>2023</c:v>
                </c:pt>
                <c:pt idx="7">
                  <c:v>2024</c:v>
                </c:pt>
                <c:pt idx="8">
                  <c:v>2025</c:v>
                </c:pt>
              </c:numCache>
            </c:numRef>
          </c:cat>
          <c:val>
            <c:numRef>
              <c:f>'Capacities EU'!$F$173:$N$173</c:f>
              <c:numCache>
                <c:formatCode>@</c:formatCode>
                <c:ptCount val="9"/>
                <c:pt idx="0">
                  <c:v>1875</c:v>
                </c:pt>
                <c:pt idx="1">
                  <c:v>2228</c:v>
                </c:pt>
                <c:pt idx="2">
                  <c:v>2355</c:v>
                </c:pt>
                <c:pt idx="3">
                  <c:v>3153</c:v>
                </c:pt>
                <c:pt idx="4">
                  <c:v>3755</c:v>
                </c:pt>
                <c:pt idx="5">
                  <c:v>4150</c:v>
                </c:pt>
                <c:pt idx="6">
                  <c:v>4547</c:v>
                </c:pt>
                <c:pt idx="7">
                  <c:v>5065</c:v>
                </c:pt>
                <c:pt idx="8">
                  <c:v>5225</c:v>
                </c:pt>
              </c:numCache>
            </c:numRef>
          </c:val>
          <c:smooth val="0"/>
          <c:extLst>
            <c:ext xmlns:c16="http://schemas.microsoft.com/office/drawing/2014/chart" uri="{C3380CC4-5D6E-409C-BE32-E72D297353CC}">
              <c16:uniqueId val="{00000001-3909-456D-A41C-67A164A5BA8A}"/>
            </c:ext>
          </c:extLst>
        </c:ser>
        <c:ser>
          <c:idx val="2"/>
          <c:order val="2"/>
          <c:tx>
            <c:strRef>
              <c:f>'Capacities EU'!$B$174</c:f>
              <c:strCache>
                <c:ptCount val="1"/>
                <c:pt idx="0">
                  <c:v>Total</c:v>
                </c:pt>
              </c:strCache>
            </c:strRef>
          </c:tx>
          <c:spPr>
            <a:ln w="28575" cap="rnd">
              <a:solidFill>
                <a:schemeClr val="tx1"/>
              </a:solidFill>
              <a:round/>
            </a:ln>
            <a:effectLst/>
          </c:spPr>
          <c:marker>
            <c:symbol val="none"/>
          </c:marker>
          <c:dPt>
            <c:idx val="8"/>
            <c:marker>
              <c:symbol val="none"/>
            </c:marker>
            <c:bubble3D val="0"/>
            <c:spPr>
              <a:ln w="28575" cap="rnd">
                <a:solidFill>
                  <a:schemeClr val="tx1"/>
                </a:solidFill>
                <a:round/>
                <a:tailEnd type="triangle"/>
              </a:ln>
              <a:effectLst/>
            </c:spPr>
            <c:extLst>
              <c:ext xmlns:c16="http://schemas.microsoft.com/office/drawing/2014/chart" uri="{C3380CC4-5D6E-409C-BE32-E72D297353CC}">
                <c16:uniqueId val="{00000003-3909-456D-A41C-67A164A5BA8A}"/>
              </c:ext>
            </c:extLst>
          </c:dPt>
          <c:val>
            <c:numRef>
              <c:f>'Capacities EU'!$F$174:$N$174</c:f>
              <c:numCache>
                <c:formatCode>@</c:formatCode>
                <c:ptCount val="9"/>
                <c:pt idx="0">
                  <c:v>4316</c:v>
                </c:pt>
                <c:pt idx="1">
                  <c:v>4669</c:v>
                </c:pt>
                <c:pt idx="2">
                  <c:v>4796</c:v>
                </c:pt>
                <c:pt idx="3">
                  <c:v>5759</c:v>
                </c:pt>
                <c:pt idx="4">
                  <c:v>6810</c:v>
                </c:pt>
                <c:pt idx="5">
                  <c:v>7970</c:v>
                </c:pt>
                <c:pt idx="6">
                  <c:v>9647</c:v>
                </c:pt>
                <c:pt idx="7">
                  <c:v>11765</c:v>
                </c:pt>
                <c:pt idx="8">
                  <c:v>14225</c:v>
                </c:pt>
              </c:numCache>
            </c:numRef>
          </c:val>
          <c:smooth val="0"/>
          <c:extLst>
            <c:ext xmlns:c16="http://schemas.microsoft.com/office/drawing/2014/chart" uri="{C3380CC4-5D6E-409C-BE32-E72D297353CC}">
              <c16:uniqueId val="{00000004-3909-456D-A41C-67A164A5BA8A}"/>
            </c:ext>
          </c:extLst>
        </c:ser>
        <c:dLbls>
          <c:showLegendKey val="0"/>
          <c:showVal val="0"/>
          <c:showCatName val="0"/>
          <c:showSerName val="0"/>
          <c:showPercent val="0"/>
          <c:showBubbleSize val="0"/>
        </c:dLbls>
        <c:smooth val="0"/>
        <c:axId val="1054586896"/>
        <c:axId val="1396462288"/>
      </c:lineChart>
      <c:catAx>
        <c:axId val="1054586896"/>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396462288"/>
        <c:crosses val="autoZero"/>
        <c:auto val="1"/>
        <c:lblAlgn val="ctr"/>
        <c:lblOffset val="100"/>
        <c:noMultiLvlLbl val="0"/>
      </c:catAx>
      <c:valAx>
        <c:axId val="13964622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545868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Φύλλο1!$B$3</c:f>
              <c:strCache>
                <c:ptCount val="1"/>
                <c:pt idx="0">
                  <c:v>Αιολικά</c:v>
                </c:pt>
              </c:strCache>
            </c:strRef>
          </c:tx>
          <c:spPr>
            <a:solidFill>
              <a:srgbClr val="00B050"/>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B$4:$B$15</c:f>
              <c:numCache>
                <c:formatCode>General</c:formatCode>
                <c:ptCount val="12"/>
                <c:pt idx="0">
                  <c:v>1482</c:v>
                </c:pt>
                <c:pt idx="1">
                  <c:v>1028</c:v>
                </c:pt>
                <c:pt idx="2">
                  <c:v>767</c:v>
                </c:pt>
                <c:pt idx="3">
                  <c:v>1013</c:v>
                </c:pt>
                <c:pt idx="4">
                  <c:v>724</c:v>
                </c:pt>
                <c:pt idx="5">
                  <c:v>883</c:v>
                </c:pt>
                <c:pt idx="6">
                  <c:v>114</c:v>
                </c:pt>
                <c:pt idx="7">
                  <c:v>805</c:v>
                </c:pt>
                <c:pt idx="8">
                  <c:v>558</c:v>
                </c:pt>
                <c:pt idx="9">
                  <c:v>1062</c:v>
                </c:pt>
                <c:pt idx="10">
                  <c:v>1105</c:v>
                </c:pt>
                <c:pt idx="11">
                  <c:v>1124</c:v>
                </c:pt>
              </c:numCache>
            </c:numRef>
          </c:val>
          <c:extLst>
            <c:ext xmlns:c16="http://schemas.microsoft.com/office/drawing/2014/chart" uri="{C3380CC4-5D6E-409C-BE32-E72D297353CC}">
              <c16:uniqueId val="{00000000-9608-4710-AC31-6277577CF20F}"/>
            </c:ext>
          </c:extLst>
        </c:ser>
        <c:ser>
          <c:idx val="1"/>
          <c:order val="1"/>
          <c:tx>
            <c:strRef>
              <c:f>Φύλλο1!$C$3</c:f>
              <c:strCache>
                <c:ptCount val="1"/>
                <c:pt idx="0">
                  <c:v>Φ/Β</c:v>
                </c:pt>
              </c:strCache>
            </c:strRef>
          </c:tx>
          <c:spPr>
            <a:solidFill>
              <a:schemeClr val="accent5"/>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C$4:$C$15</c:f>
              <c:numCache>
                <c:formatCode>General</c:formatCode>
                <c:ptCount val="12"/>
                <c:pt idx="0">
                  <c:v>484</c:v>
                </c:pt>
                <c:pt idx="1">
                  <c:v>568</c:v>
                </c:pt>
                <c:pt idx="2">
                  <c:v>715</c:v>
                </c:pt>
                <c:pt idx="3">
                  <c:v>813</c:v>
                </c:pt>
                <c:pt idx="4">
                  <c:v>863</c:v>
                </c:pt>
                <c:pt idx="5">
                  <c:v>995</c:v>
                </c:pt>
                <c:pt idx="6">
                  <c:v>1064</c:v>
                </c:pt>
                <c:pt idx="7">
                  <c:v>997</c:v>
                </c:pt>
                <c:pt idx="8">
                  <c:v>807</c:v>
                </c:pt>
                <c:pt idx="9">
                  <c:v>777</c:v>
                </c:pt>
                <c:pt idx="10">
                  <c:v>500</c:v>
                </c:pt>
                <c:pt idx="11">
                  <c:v>402</c:v>
                </c:pt>
              </c:numCache>
            </c:numRef>
          </c:val>
          <c:extLst>
            <c:ext xmlns:c16="http://schemas.microsoft.com/office/drawing/2014/chart" uri="{C3380CC4-5D6E-409C-BE32-E72D297353CC}">
              <c16:uniqueId val="{00000001-9608-4710-AC31-6277577CF20F}"/>
            </c:ext>
          </c:extLst>
        </c:ser>
        <c:ser>
          <c:idx val="2"/>
          <c:order val="2"/>
          <c:tx>
            <c:strRef>
              <c:f>Φύλλο1!$D$3</c:f>
              <c:strCache>
                <c:ptCount val="1"/>
                <c:pt idx="0">
                  <c:v>Φ/Β Στέγης</c:v>
                </c:pt>
              </c:strCache>
            </c:strRef>
          </c:tx>
          <c:spPr>
            <a:solidFill>
              <a:srgbClr val="FFFF00"/>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D$4:$D$15</c:f>
              <c:numCache>
                <c:formatCode>General</c:formatCode>
                <c:ptCount val="12"/>
                <c:pt idx="0">
                  <c:v>31</c:v>
                </c:pt>
                <c:pt idx="1">
                  <c:v>26</c:v>
                </c:pt>
                <c:pt idx="2">
                  <c:v>22</c:v>
                </c:pt>
                <c:pt idx="3">
                  <c:v>42</c:v>
                </c:pt>
                <c:pt idx="4">
                  <c:v>43</c:v>
                </c:pt>
                <c:pt idx="5">
                  <c:v>53</c:v>
                </c:pt>
                <c:pt idx="6">
                  <c:v>55</c:v>
                </c:pt>
                <c:pt idx="7">
                  <c:v>55</c:v>
                </c:pt>
                <c:pt idx="8">
                  <c:v>54</c:v>
                </c:pt>
                <c:pt idx="9">
                  <c:v>44</c:v>
                </c:pt>
                <c:pt idx="10">
                  <c:v>37</c:v>
                </c:pt>
                <c:pt idx="11">
                  <c:v>25</c:v>
                </c:pt>
              </c:numCache>
            </c:numRef>
          </c:val>
          <c:extLst>
            <c:ext xmlns:c16="http://schemas.microsoft.com/office/drawing/2014/chart" uri="{C3380CC4-5D6E-409C-BE32-E72D297353CC}">
              <c16:uniqueId val="{00000002-9608-4710-AC31-6277577CF20F}"/>
            </c:ext>
          </c:extLst>
        </c:ser>
        <c:ser>
          <c:idx val="3"/>
          <c:order val="3"/>
          <c:tx>
            <c:strRef>
              <c:f>Φύλλο1!$E$3</c:f>
              <c:strCache>
                <c:ptCount val="1"/>
                <c:pt idx="0">
                  <c:v>ΜΥΗΣ</c:v>
                </c:pt>
              </c:strCache>
            </c:strRef>
          </c:tx>
          <c:spPr>
            <a:solidFill>
              <a:schemeClr val="accent4"/>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E$4:$E$15</c:f>
              <c:numCache>
                <c:formatCode>General</c:formatCode>
                <c:ptCount val="12"/>
                <c:pt idx="0">
                  <c:v>72</c:v>
                </c:pt>
                <c:pt idx="1">
                  <c:v>61</c:v>
                </c:pt>
                <c:pt idx="2">
                  <c:v>91</c:v>
                </c:pt>
                <c:pt idx="3">
                  <c:v>57</c:v>
                </c:pt>
                <c:pt idx="4">
                  <c:v>54</c:v>
                </c:pt>
                <c:pt idx="5">
                  <c:v>32</c:v>
                </c:pt>
                <c:pt idx="6">
                  <c:v>23</c:v>
                </c:pt>
                <c:pt idx="7">
                  <c:v>20</c:v>
                </c:pt>
                <c:pt idx="8">
                  <c:v>18</c:v>
                </c:pt>
                <c:pt idx="9">
                  <c:v>18</c:v>
                </c:pt>
                <c:pt idx="10">
                  <c:v>24</c:v>
                </c:pt>
                <c:pt idx="11">
                  <c:v>77</c:v>
                </c:pt>
              </c:numCache>
            </c:numRef>
          </c:val>
          <c:extLst>
            <c:ext xmlns:c16="http://schemas.microsoft.com/office/drawing/2014/chart" uri="{C3380CC4-5D6E-409C-BE32-E72D297353CC}">
              <c16:uniqueId val="{00000003-9608-4710-AC31-6277577CF20F}"/>
            </c:ext>
          </c:extLst>
        </c:ser>
        <c:ser>
          <c:idx val="4"/>
          <c:order val="4"/>
          <c:tx>
            <c:strRef>
              <c:f>Φύλλο1!$F$3</c:f>
              <c:strCache>
                <c:ptCount val="1"/>
                <c:pt idx="0">
                  <c:v>Βιομάζα</c:v>
                </c:pt>
              </c:strCache>
            </c:strRef>
          </c:tx>
          <c:spPr>
            <a:solidFill>
              <a:srgbClr val="50E69B"/>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F$4:$F$15</c:f>
              <c:numCache>
                <c:formatCode>General</c:formatCode>
                <c:ptCount val="12"/>
                <c:pt idx="0">
                  <c:v>51</c:v>
                </c:pt>
                <c:pt idx="1">
                  <c:v>50</c:v>
                </c:pt>
                <c:pt idx="2">
                  <c:v>54</c:v>
                </c:pt>
                <c:pt idx="3">
                  <c:v>52</c:v>
                </c:pt>
                <c:pt idx="4">
                  <c:v>56</c:v>
                </c:pt>
                <c:pt idx="5">
                  <c:v>51</c:v>
                </c:pt>
                <c:pt idx="6">
                  <c:v>51</c:v>
                </c:pt>
                <c:pt idx="7">
                  <c:v>52</c:v>
                </c:pt>
                <c:pt idx="8">
                  <c:v>53</c:v>
                </c:pt>
                <c:pt idx="9">
                  <c:v>56</c:v>
                </c:pt>
                <c:pt idx="10">
                  <c:v>56</c:v>
                </c:pt>
                <c:pt idx="11">
                  <c:v>58</c:v>
                </c:pt>
              </c:numCache>
            </c:numRef>
          </c:val>
          <c:extLst>
            <c:ext xmlns:c16="http://schemas.microsoft.com/office/drawing/2014/chart" uri="{C3380CC4-5D6E-409C-BE32-E72D297353CC}">
              <c16:uniqueId val="{00000004-9608-4710-AC31-6277577CF20F}"/>
            </c:ext>
          </c:extLst>
        </c:ser>
        <c:dLbls>
          <c:showLegendKey val="0"/>
          <c:showVal val="0"/>
          <c:showCatName val="0"/>
          <c:showSerName val="0"/>
          <c:showPercent val="0"/>
          <c:showBubbleSize val="0"/>
        </c:dLbls>
        <c:gapWidth val="150"/>
        <c:overlap val="100"/>
        <c:axId val="2138877888"/>
        <c:axId val="2138878368"/>
        <c:extLst>
          <c:ext xmlns:c15="http://schemas.microsoft.com/office/drawing/2012/chart" uri="{02D57815-91ED-43cb-92C2-25804820EDAC}">
            <c15:filteredBarSeries>
              <c15:ser>
                <c:idx val="5"/>
                <c:order val="5"/>
                <c:tx>
                  <c:strRef>
                    <c:extLst>
                      <c:ext uri="{02D57815-91ED-43cb-92C2-25804820EDAC}">
                        <c15:formulaRef>
                          <c15:sqref>Φύλλο1!$G$3</c15:sqref>
                        </c15:formulaRef>
                      </c:ext>
                    </c:extLst>
                    <c:strCache>
                      <c:ptCount val="1"/>
                      <c:pt idx="0">
                        <c:v>ΣΗΘΥΑ</c:v>
                      </c:pt>
                    </c:strCache>
                  </c:strRef>
                </c:tx>
                <c:spPr>
                  <a:solidFill>
                    <a:schemeClr val="accent6"/>
                  </a:solidFill>
                  <a:ln>
                    <a:noFill/>
                  </a:ln>
                  <a:effectLst/>
                </c:spPr>
                <c:invertIfNegative val="0"/>
                <c:cat>
                  <c:strRef>
                    <c:extLst>
                      <c:ext uri="{02D57815-91ED-43cb-92C2-25804820EDAC}">
                        <c15:formulaRef>
                          <c15:sqref>Φύλλο1!$A$4:$A$15</c15:sqref>
                        </c15:formulaRef>
                      </c:ext>
                    </c:extLst>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extLst>
                      <c:ext uri="{02D57815-91ED-43cb-92C2-25804820EDAC}">
                        <c15:formulaRef>
                          <c15:sqref>Φύλλο1!$A$4:$A$15</c15:sqref>
                        </c15:formulaRef>
                      </c:ext>
                    </c:extLst>
                    <c:numCache>
                      <c:formatCode>General</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5-9608-4710-AC31-6277577CF20F}"/>
                  </c:ext>
                </c:extLst>
              </c15:ser>
            </c15:filteredBarSeries>
          </c:ext>
        </c:extLst>
      </c:barChart>
      <c:catAx>
        <c:axId val="213887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38878368"/>
        <c:crosses val="autoZero"/>
        <c:auto val="1"/>
        <c:lblAlgn val="ctr"/>
        <c:lblOffset val="100"/>
        <c:noMultiLvlLbl val="0"/>
      </c:catAx>
      <c:valAx>
        <c:axId val="2138878368"/>
        <c:scaling>
          <c:orientation val="minMax"/>
          <c:max val="2300"/>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G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3887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3"/>
          <c:order val="1"/>
          <c:tx>
            <c:strRef>
              <c:f>'[RES%20graphs (version 2).xlsx]RES Installed Capacities GR'!$A$14</c:f>
              <c:strCache>
                <c:ptCount val="1"/>
                <c:pt idx="0">
                  <c:v>ΜΥΗΣ</c:v>
                </c:pt>
              </c:strCache>
            </c:strRef>
          </c:tx>
          <c:spPr>
            <a:solidFill>
              <a:schemeClr val="accent4"/>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4:$H$14</c:f>
              <c:numCache>
                <c:formatCode>General</c:formatCode>
                <c:ptCount val="7"/>
                <c:pt idx="0">
                  <c:v>239</c:v>
                </c:pt>
                <c:pt idx="1">
                  <c:v>240</c:v>
                </c:pt>
                <c:pt idx="2">
                  <c:v>245</c:v>
                </c:pt>
                <c:pt idx="3">
                  <c:v>250.32</c:v>
                </c:pt>
                <c:pt idx="4">
                  <c:v>341.74</c:v>
                </c:pt>
                <c:pt idx="5">
                  <c:v>288.7</c:v>
                </c:pt>
                <c:pt idx="6">
                  <c:v>296</c:v>
                </c:pt>
              </c:numCache>
            </c:numRef>
          </c:val>
          <c:extLst>
            <c:ext xmlns:c16="http://schemas.microsoft.com/office/drawing/2014/chart" uri="{C3380CC4-5D6E-409C-BE32-E72D297353CC}">
              <c16:uniqueId val="{00000000-B093-48A2-A1E4-501EF3D9C7AE}"/>
            </c:ext>
          </c:extLst>
        </c:ser>
        <c:ser>
          <c:idx val="2"/>
          <c:order val="2"/>
          <c:tx>
            <c:strRef>
              <c:f>'[RES%20graphs (version 2).xlsx]RES Installed Capacities GR'!$A$13</c:f>
              <c:strCache>
                <c:ptCount val="1"/>
                <c:pt idx="0">
                  <c:v>Βιομάζα</c:v>
                </c:pt>
              </c:strCache>
            </c:strRef>
          </c:tx>
          <c:spPr>
            <a:solidFill>
              <a:schemeClr val="accent3"/>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3:$H$13</c:f>
              <c:numCache>
                <c:formatCode>General</c:formatCode>
                <c:ptCount val="7"/>
                <c:pt idx="0">
                  <c:v>82</c:v>
                </c:pt>
                <c:pt idx="1">
                  <c:v>88</c:v>
                </c:pt>
                <c:pt idx="2">
                  <c:v>96</c:v>
                </c:pt>
                <c:pt idx="3">
                  <c:v>87.56</c:v>
                </c:pt>
                <c:pt idx="4">
                  <c:v>87.53</c:v>
                </c:pt>
                <c:pt idx="5">
                  <c:v>136.69999999999999</c:v>
                </c:pt>
                <c:pt idx="6">
                  <c:v>132</c:v>
                </c:pt>
              </c:numCache>
            </c:numRef>
          </c:val>
          <c:extLst>
            <c:ext xmlns:c16="http://schemas.microsoft.com/office/drawing/2014/chart" uri="{C3380CC4-5D6E-409C-BE32-E72D297353CC}">
              <c16:uniqueId val="{00000001-B093-48A2-A1E4-501EF3D9C7AE}"/>
            </c:ext>
          </c:extLst>
        </c:ser>
        <c:ser>
          <c:idx val="0"/>
          <c:order val="3"/>
          <c:tx>
            <c:strRef>
              <c:f>'[RES%20graphs (version 2).xlsx]RES Installed Capacities GR'!$A$11</c:f>
              <c:strCache>
                <c:ptCount val="1"/>
                <c:pt idx="0">
                  <c:v>Φ/Β Στέγης</c:v>
                </c:pt>
              </c:strCache>
            </c:strRef>
          </c:tx>
          <c:spPr>
            <a:solidFill>
              <a:srgbClr val="FFFF00"/>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1:$H$11</c:f>
              <c:numCache>
                <c:formatCode>General</c:formatCode>
                <c:ptCount val="7"/>
                <c:pt idx="0">
                  <c:v>351</c:v>
                </c:pt>
                <c:pt idx="1">
                  <c:v>351</c:v>
                </c:pt>
                <c:pt idx="2">
                  <c:v>352</c:v>
                </c:pt>
                <c:pt idx="3">
                  <c:v>352</c:v>
                </c:pt>
                <c:pt idx="4">
                  <c:v>352</c:v>
                </c:pt>
                <c:pt idx="5">
                  <c:v>371</c:v>
                </c:pt>
                <c:pt idx="6">
                  <c:v>371</c:v>
                </c:pt>
              </c:numCache>
            </c:numRef>
          </c:val>
          <c:extLst>
            <c:ext xmlns:c16="http://schemas.microsoft.com/office/drawing/2014/chart" uri="{C3380CC4-5D6E-409C-BE32-E72D297353CC}">
              <c16:uniqueId val="{00000002-B093-48A2-A1E4-501EF3D9C7AE}"/>
            </c:ext>
          </c:extLst>
        </c:ser>
        <c:ser>
          <c:idx val="4"/>
          <c:order val="4"/>
          <c:tx>
            <c:strRef>
              <c:f>'[RES%20graphs (version 2).xlsx]RES Installed Capacities GR'!$A$15</c:f>
              <c:strCache>
                <c:ptCount val="1"/>
                <c:pt idx="0">
                  <c:v>Αιολικά</c:v>
                </c:pt>
              </c:strCache>
            </c:strRef>
          </c:tx>
          <c:spPr>
            <a:solidFill>
              <a:srgbClr val="00B050"/>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5:$H$15</c:f>
              <c:numCache>
                <c:formatCode>General</c:formatCode>
                <c:ptCount val="7"/>
                <c:pt idx="0">
                  <c:v>2555</c:v>
                </c:pt>
                <c:pt idx="1">
                  <c:v>3283</c:v>
                </c:pt>
                <c:pt idx="2">
                  <c:v>3810</c:v>
                </c:pt>
                <c:pt idx="3">
                  <c:v>4451</c:v>
                </c:pt>
                <c:pt idx="4">
                  <c:v>4681</c:v>
                </c:pt>
                <c:pt idx="5">
                  <c:v>5124</c:v>
                </c:pt>
                <c:pt idx="6">
                  <c:v>5222.7</c:v>
                </c:pt>
              </c:numCache>
            </c:numRef>
          </c:val>
          <c:extLst>
            <c:ext xmlns:c16="http://schemas.microsoft.com/office/drawing/2014/chart" uri="{C3380CC4-5D6E-409C-BE32-E72D297353CC}">
              <c16:uniqueId val="{00000003-B093-48A2-A1E4-501EF3D9C7AE}"/>
            </c:ext>
          </c:extLst>
        </c:ser>
        <c:ser>
          <c:idx val="1"/>
          <c:order val="5"/>
          <c:tx>
            <c:strRef>
              <c:f>'[RES%20graphs (version 2).xlsx]RES Installed Capacities GR'!$A$12</c:f>
              <c:strCache>
                <c:ptCount val="1"/>
                <c:pt idx="0">
                  <c:v>Φ/Β</c:v>
                </c:pt>
              </c:strCache>
            </c:strRef>
          </c:tx>
          <c:spPr>
            <a:solidFill>
              <a:schemeClr val="accent5"/>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2:$H$12</c:f>
              <c:numCache>
                <c:formatCode>General</c:formatCode>
                <c:ptCount val="7"/>
                <c:pt idx="0">
                  <c:v>2140</c:v>
                </c:pt>
                <c:pt idx="1">
                  <c:v>2288</c:v>
                </c:pt>
                <c:pt idx="2">
                  <c:v>2730</c:v>
                </c:pt>
                <c:pt idx="3">
                  <c:v>4126</c:v>
                </c:pt>
                <c:pt idx="4">
                  <c:v>5440.74</c:v>
                </c:pt>
                <c:pt idx="5">
                  <c:v>6579.8</c:v>
                </c:pt>
                <c:pt idx="6">
                  <c:v>6768</c:v>
                </c:pt>
              </c:numCache>
            </c:numRef>
          </c:val>
          <c:extLst>
            <c:ext xmlns:c16="http://schemas.microsoft.com/office/drawing/2014/chart" uri="{C3380CC4-5D6E-409C-BE32-E72D297353CC}">
              <c16:uniqueId val="{00000004-B093-48A2-A1E4-501EF3D9C7AE}"/>
            </c:ext>
          </c:extLst>
        </c:ser>
        <c:dLbls>
          <c:showLegendKey val="0"/>
          <c:showVal val="0"/>
          <c:showCatName val="0"/>
          <c:showSerName val="0"/>
          <c:showPercent val="0"/>
          <c:showBubbleSize val="0"/>
        </c:dLbls>
        <c:gapWidth val="150"/>
        <c:overlap val="100"/>
        <c:axId val="2066339696"/>
        <c:axId val="2066356496"/>
        <c:extLst>
          <c:ext xmlns:c15="http://schemas.microsoft.com/office/drawing/2012/chart" uri="{02D57815-91ED-43cb-92C2-25804820EDAC}">
            <c15:filteredBarSeries>
              <c15:ser>
                <c:idx val="5"/>
                <c:order val="0"/>
                <c:tx>
                  <c:strRef>
                    <c:extLst>
                      <c:ext uri="{02D57815-91ED-43cb-92C2-25804820EDAC}">
                        <c15:formulaRef>
                          <c15:sqref>'[RES%20graphs (version 2).xlsx]RES Installed Capacities GR'!$A$16</c15:sqref>
                        </c15:formulaRef>
                      </c:ext>
                    </c:extLst>
                    <c:strCache>
                      <c:ptCount val="1"/>
                      <c:pt idx="0">
                        <c:v>ΣΗΘΥΑ</c:v>
                      </c:pt>
                    </c:strCache>
                  </c:strRef>
                </c:tx>
                <c:spPr>
                  <a:solidFill>
                    <a:schemeClr val="accent6"/>
                  </a:solidFill>
                  <a:ln>
                    <a:noFill/>
                  </a:ln>
                  <a:effectLst/>
                </c:spPr>
                <c:invertIfNegative val="0"/>
                <c:cat>
                  <c:numRef>
                    <c:extLst>
                      <c:ext uri="{02D57815-91ED-43cb-92C2-25804820EDAC}">
                        <c15:formulaRef>
                          <c15:sqref>'[RES%20graphs (version 2).xlsx]RES Installed Capacities GR'!$B$9:$H$9</c15:sqref>
                        </c15:formulaRef>
                      </c:ext>
                    </c:extLst>
                    <c:numCache>
                      <c:formatCode>General</c:formatCode>
                      <c:ptCount val="7"/>
                      <c:pt idx="0">
                        <c:v>2018</c:v>
                      </c:pt>
                      <c:pt idx="1">
                        <c:v>2019</c:v>
                      </c:pt>
                      <c:pt idx="2">
                        <c:v>2020</c:v>
                      </c:pt>
                      <c:pt idx="3">
                        <c:v>2021</c:v>
                      </c:pt>
                      <c:pt idx="4">
                        <c:v>2022</c:v>
                      </c:pt>
                      <c:pt idx="5">
                        <c:v>2023</c:v>
                      </c:pt>
                      <c:pt idx="6">
                        <c:v>2024</c:v>
                      </c:pt>
                    </c:numCache>
                  </c:numRef>
                </c:cat>
                <c:val>
                  <c:numRef>
                    <c:extLst>
                      <c:ext uri="{02D57815-91ED-43cb-92C2-25804820EDAC}">
                        <c15:formulaRef>
                          <c15:sqref>'[RES%20graphs (version 2).xlsx]RES Installed Capacities GR'!$B$16:$H$16</c15:sqref>
                        </c15:formulaRef>
                      </c:ext>
                    </c:extLst>
                    <c:numCache>
                      <c:formatCode>General</c:formatCode>
                      <c:ptCount val="7"/>
                      <c:pt idx="0">
                        <c:v>100.77</c:v>
                      </c:pt>
                      <c:pt idx="1">
                        <c:v>105.47</c:v>
                      </c:pt>
                      <c:pt idx="2">
                        <c:v>107.55</c:v>
                      </c:pt>
                      <c:pt idx="3">
                        <c:v>108.55000000000001</c:v>
                      </c:pt>
                      <c:pt idx="4">
                        <c:v>79.319999999999993</c:v>
                      </c:pt>
                      <c:pt idx="5">
                        <c:v>255.6</c:v>
                      </c:pt>
                      <c:pt idx="6">
                        <c:v>132</c:v>
                      </c:pt>
                    </c:numCache>
                  </c:numRef>
                </c:val>
                <c:extLst>
                  <c:ext xmlns:c16="http://schemas.microsoft.com/office/drawing/2014/chart" uri="{C3380CC4-5D6E-409C-BE32-E72D297353CC}">
                    <c16:uniqueId val="{00000005-B093-48A2-A1E4-501EF3D9C7AE}"/>
                  </c:ext>
                </c:extLst>
              </c15:ser>
            </c15:filteredBarSeries>
          </c:ext>
        </c:extLst>
      </c:barChart>
      <c:catAx>
        <c:axId val="206633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6356496"/>
        <c:crosses val="autoZero"/>
        <c:auto val="1"/>
        <c:lblAlgn val="ctr"/>
        <c:lblOffset val="100"/>
        <c:noMultiLvlLbl val="0"/>
      </c:catAx>
      <c:valAx>
        <c:axId val="2066356496"/>
        <c:scaling>
          <c:orientation val="minMax"/>
          <c:max val="13000"/>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633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37167657713073E-2"/>
          <c:y val="2.5261586806658378E-2"/>
          <c:w val="0.85195067613077047"/>
          <c:h val="0.73304831763491518"/>
        </c:manualLayout>
      </c:layout>
      <c:barChart>
        <c:barDir val="col"/>
        <c:grouping val="clustered"/>
        <c:varyColors val="0"/>
        <c:ser>
          <c:idx val="0"/>
          <c:order val="0"/>
          <c:spPr>
            <a:solidFill>
              <a:schemeClr val="accent2"/>
            </a:solidFill>
            <a:ln>
              <a:noFill/>
            </a:ln>
            <a:effectLst/>
          </c:spPr>
          <c:invertIfNegative val="0"/>
          <c:dLbls>
            <c:dLbl>
              <c:idx val="0"/>
              <c:spPr>
                <a:noFill/>
                <a:ln>
                  <a:noFill/>
                </a:ln>
                <a:effectLst/>
              </c:spPr>
              <c:txPr>
                <a:bodyPr rot="-5400000" spcFirstLastPara="1" vertOverflow="ellipsis"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3812-4C40-9F50-675AFDD4DBD6}"/>
                </c:ext>
              </c:extLst>
            </c:dLbl>
            <c:dLbl>
              <c:idx val="1"/>
              <c:spPr>
                <a:noFill/>
                <a:ln>
                  <a:noFill/>
                </a:ln>
                <a:effectLst/>
              </c:spPr>
              <c:txPr>
                <a:bodyPr rot="-5400000" spcFirstLastPara="1" vertOverflow="ellipsis"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3812-4C40-9F50-675AFDD4DBD6}"/>
                </c:ext>
              </c:extLst>
            </c:dLbl>
            <c:dLbl>
              <c:idx val="2"/>
              <c:spPr>
                <a:noFill/>
                <a:ln>
                  <a:noFill/>
                </a:ln>
                <a:effectLst/>
              </c:spPr>
              <c:txPr>
                <a:bodyPr rot="-5400000" spcFirstLastPara="1" vertOverflow="ellipsis" wrap="square" anchor="ctr" anchorCtr="1"/>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3812-4C40-9F50-675AFDD4DBD6}"/>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6E-4A51-9F7A-09CDA858BA3E}"/>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6E-4A51-9F7A-09CDA858BA3E}"/>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56E-4A51-9F7A-09CDA858BA3E}"/>
                </c:ext>
              </c:extLst>
            </c:dLbl>
            <c:spPr>
              <a:noFill/>
              <a:ln>
                <a:noFill/>
              </a:ln>
              <a:effectLst/>
            </c:spPr>
            <c:txPr>
              <a:bodyPr rot="-5400000" spcFirstLastPara="1" vertOverflow="ellipsis" wrap="square" anchor="ctr" anchorCtr="1"/>
              <a:lstStyle/>
              <a:p>
                <a:pPr>
                  <a:defRPr sz="900" b="0"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venue RES GR'!$A$3:$A$8</c:f>
              <c:strCache>
                <c:ptCount val="6"/>
                <c:pt idx="0">
                  <c:v>Solar PV</c:v>
                </c:pt>
                <c:pt idx="1">
                  <c:v>Wind</c:v>
                </c:pt>
                <c:pt idx="2">
                  <c:v>Rooftop PV</c:v>
                </c:pt>
                <c:pt idx="3">
                  <c:v>Biomass-Biogas</c:v>
                </c:pt>
                <c:pt idx="4">
                  <c:v>CHP</c:v>
                </c:pt>
                <c:pt idx="5">
                  <c:v>Small Hydro</c:v>
                </c:pt>
              </c:strCache>
            </c:strRef>
          </c:cat>
          <c:val>
            <c:numRef>
              <c:f>'Revenue RES GR'!$B$3:$B$8</c:f>
              <c:numCache>
                <c:formatCode>General</c:formatCode>
                <c:ptCount val="6"/>
                <c:pt idx="0">
                  <c:v>976.3</c:v>
                </c:pt>
                <c:pt idx="1">
                  <c:v>609.70000000000005</c:v>
                </c:pt>
                <c:pt idx="2">
                  <c:v>191.1</c:v>
                </c:pt>
                <c:pt idx="3">
                  <c:v>93.7</c:v>
                </c:pt>
                <c:pt idx="4">
                  <c:v>38.5</c:v>
                </c:pt>
                <c:pt idx="5">
                  <c:v>37.4</c:v>
                </c:pt>
              </c:numCache>
            </c:numRef>
          </c:val>
          <c:extLst>
            <c:ext xmlns:c16="http://schemas.microsoft.com/office/drawing/2014/chart" uri="{C3380CC4-5D6E-409C-BE32-E72D297353CC}">
              <c16:uniqueId val="{00000003-D56E-4A51-9F7A-09CDA858BA3E}"/>
            </c:ext>
          </c:extLst>
        </c:ser>
        <c:dLbls>
          <c:dLblPos val="outEnd"/>
          <c:showLegendKey val="0"/>
          <c:showVal val="1"/>
          <c:showCatName val="0"/>
          <c:showSerName val="0"/>
          <c:showPercent val="0"/>
          <c:showBubbleSize val="0"/>
        </c:dLbls>
        <c:gapWidth val="89"/>
        <c:overlap val="-27"/>
        <c:axId val="1672225359"/>
        <c:axId val="1672222959"/>
      </c:barChart>
      <c:catAx>
        <c:axId val="1672225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72222959"/>
        <c:crosses val="autoZero"/>
        <c:auto val="1"/>
        <c:lblAlgn val="ctr"/>
        <c:lblOffset val="100"/>
        <c:noMultiLvlLbl val="0"/>
      </c:catAx>
      <c:valAx>
        <c:axId val="1672222959"/>
        <c:scaling>
          <c:orientation val="minMax"/>
          <c:max val="1000"/>
        </c:scaling>
        <c:delete val="1"/>
        <c:axPos val="l"/>
        <c:numFmt formatCode="#,##0.00" sourceLinked="0"/>
        <c:majorTickMark val="none"/>
        <c:minorTickMark val="none"/>
        <c:tickLblPos val="nextTo"/>
        <c:crossAx val="1672225359"/>
        <c:crosses val="autoZero"/>
        <c:crossBetween val="between"/>
        <c:majorUnit val="200"/>
        <c:min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19031460021585"/>
          <c:y val="0.18980104465390318"/>
          <c:w val="0.82793844328815325"/>
          <c:h val="0.6644972000249767"/>
        </c:manualLayout>
      </c:layout>
      <c:barChart>
        <c:barDir val="col"/>
        <c:grouping val="clustered"/>
        <c:varyColors val="0"/>
        <c:ser>
          <c:idx val="0"/>
          <c:order val="0"/>
          <c:tx>
            <c:strRef>
              <c:f>PPAs!$A$46</c:f>
              <c:strCache>
                <c:ptCount val="1"/>
                <c:pt idx="0">
                  <c:v>Corportate (GW)</c:v>
                </c:pt>
              </c:strCache>
            </c:strRef>
          </c:tx>
          <c:spPr>
            <a:solidFill>
              <a:srgbClr val="525252"/>
            </a:solidFill>
            <a:ln>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6:$H$46</c:f>
              <c:numCache>
                <c:formatCode>General</c:formatCode>
                <c:ptCount val="7"/>
                <c:pt idx="0">
                  <c:v>2.5</c:v>
                </c:pt>
                <c:pt idx="1">
                  <c:v>2.7</c:v>
                </c:pt>
                <c:pt idx="2">
                  <c:v>3.1</c:v>
                </c:pt>
                <c:pt idx="3">
                  <c:v>7.6</c:v>
                </c:pt>
                <c:pt idx="4">
                  <c:v>8.9</c:v>
                </c:pt>
                <c:pt idx="5">
                  <c:v>12.7</c:v>
                </c:pt>
                <c:pt idx="6">
                  <c:v>12.6</c:v>
                </c:pt>
              </c:numCache>
            </c:numRef>
          </c:val>
          <c:extLst>
            <c:ext xmlns:c16="http://schemas.microsoft.com/office/drawing/2014/chart" uri="{C3380CC4-5D6E-409C-BE32-E72D297353CC}">
              <c16:uniqueId val="{00000000-9B97-4E3C-B7D1-DEBFCF172B0A}"/>
            </c:ext>
          </c:extLst>
        </c:ser>
        <c:ser>
          <c:idx val="1"/>
          <c:order val="1"/>
          <c:tx>
            <c:strRef>
              <c:f>PPAs!$A$47</c:f>
              <c:strCache>
                <c:ptCount val="1"/>
                <c:pt idx="0">
                  <c:v>Utility (GW)</c:v>
                </c:pt>
              </c:strCache>
            </c:strRef>
          </c:tx>
          <c:spPr>
            <a:solidFill>
              <a:srgbClr val="0070C0"/>
            </a:solidFill>
            <a:ln>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7:$H$47</c:f>
              <c:numCache>
                <c:formatCode>General</c:formatCode>
                <c:ptCount val="7"/>
                <c:pt idx="0">
                  <c:v>0.8</c:v>
                </c:pt>
                <c:pt idx="1">
                  <c:v>5</c:v>
                </c:pt>
                <c:pt idx="2">
                  <c:v>2.2999999999999998</c:v>
                </c:pt>
                <c:pt idx="3">
                  <c:v>4.5</c:v>
                </c:pt>
                <c:pt idx="4">
                  <c:v>1.8</c:v>
                </c:pt>
                <c:pt idx="5">
                  <c:v>4.0999999999999996</c:v>
                </c:pt>
                <c:pt idx="6">
                  <c:v>1.7</c:v>
                </c:pt>
              </c:numCache>
            </c:numRef>
          </c:val>
          <c:extLst>
            <c:ext xmlns:c16="http://schemas.microsoft.com/office/drawing/2014/chart" uri="{C3380CC4-5D6E-409C-BE32-E72D297353CC}">
              <c16:uniqueId val="{00000001-9B97-4E3C-B7D1-DEBFCF172B0A}"/>
            </c:ext>
          </c:extLst>
        </c:ser>
        <c:ser>
          <c:idx val="2"/>
          <c:order val="2"/>
          <c:tx>
            <c:strRef>
              <c:f>PPAs!$A$48</c:f>
              <c:strCache>
                <c:ptCount val="1"/>
                <c:pt idx="0">
                  <c:v>Other (GW)</c:v>
                </c:pt>
              </c:strCache>
            </c:strRef>
          </c:tx>
          <c:spPr>
            <a:solidFill>
              <a:srgbClr val="00B050"/>
            </a:solidFill>
            <a:ln w="3175">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8:$H$48</c:f>
              <c:numCache>
                <c:formatCode>General</c:formatCode>
                <c:ptCount val="7"/>
                <c:pt idx="1">
                  <c:v>0.9</c:v>
                </c:pt>
                <c:pt idx="2">
                  <c:v>0.02</c:v>
                </c:pt>
                <c:pt idx="4">
                  <c:v>0.2</c:v>
                </c:pt>
                <c:pt idx="5">
                  <c:v>0.3</c:v>
                </c:pt>
                <c:pt idx="6">
                  <c:v>0.9</c:v>
                </c:pt>
              </c:numCache>
            </c:numRef>
          </c:val>
          <c:extLst>
            <c:ext xmlns:c16="http://schemas.microsoft.com/office/drawing/2014/chart" uri="{C3380CC4-5D6E-409C-BE32-E72D297353CC}">
              <c16:uniqueId val="{00000002-9B97-4E3C-B7D1-DEBFCF172B0A}"/>
            </c:ext>
          </c:extLst>
        </c:ser>
        <c:dLbls>
          <c:showLegendKey val="0"/>
          <c:showVal val="0"/>
          <c:showCatName val="0"/>
          <c:showSerName val="0"/>
          <c:showPercent val="0"/>
          <c:showBubbleSize val="0"/>
        </c:dLbls>
        <c:gapWidth val="60"/>
        <c:axId val="252511135"/>
        <c:axId val="252508255"/>
      </c:barChart>
      <c:catAx>
        <c:axId val="25251113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52508255"/>
        <c:crosses val="autoZero"/>
        <c:auto val="1"/>
        <c:lblAlgn val="ctr"/>
        <c:lblOffset val="100"/>
        <c:noMultiLvlLbl val="0"/>
      </c:catAx>
      <c:valAx>
        <c:axId val="25250825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52511135"/>
        <c:crosses val="autoZero"/>
        <c:crossBetween val="between"/>
      </c:valAx>
      <c:spPr>
        <a:noFill/>
        <a:ln>
          <a:noFill/>
        </a:ln>
        <a:effectLst/>
      </c:spPr>
    </c:plotArea>
    <c:legend>
      <c:legendPos val="t"/>
      <c:layout>
        <c:manualLayout>
          <c:xMode val="edge"/>
          <c:yMode val="edge"/>
          <c:x val="6.5764601146433344E-2"/>
          <c:y val="3.1583599556307095E-2"/>
          <c:w val="0.93423539885356666"/>
          <c:h val="0.117214981166185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76912521517232"/>
          <c:y val="0.12131095122548512"/>
          <c:w val="0.84129101852259558"/>
          <c:h val="0.82503090728912953"/>
        </c:manualLayout>
      </c:layout>
      <c:barChart>
        <c:barDir val="bar"/>
        <c:grouping val="percentStacked"/>
        <c:varyColors val="0"/>
        <c:ser>
          <c:idx val="1"/>
          <c:order val="0"/>
          <c:tx>
            <c:strRef>
              <c:f>'Electricity Generation'!$D$55</c:f>
              <c:strCache>
                <c:ptCount val="1"/>
                <c:pt idx="0">
                  <c:v>Solar</c:v>
                </c:pt>
              </c:strCache>
            </c:strRef>
          </c:tx>
          <c:spPr>
            <a:solidFill>
              <a:schemeClr val="accent5"/>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D$56:$D$79</c:f>
              <c:numCache>
                <c:formatCode>General</c:formatCode>
                <c:ptCount val="24"/>
                <c:pt idx="0">
                  <c:v>8.5377584220782329E-2</c:v>
                </c:pt>
                <c:pt idx="1">
                  <c:v>0.11266341966027217</c:v>
                </c:pt>
                <c:pt idx="2">
                  <c:v>0.13391547006901608</c:v>
                </c:pt>
                <c:pt idx="3">
                  <c:v>1.743543956852139E-2</c:v>
                </c:pt>
                <c:pt idx="4">
                  <c:v>0.18167321575835185</c:v>
                </c:pt>
                <c:pt idx="5">
                  <c:v>0.15514202653373757</c:v>
                </c:pt>
                <c:pt idx="6">
                  <c:v>0.20164907138397284</c:v>
                </c:pt>
                <c:pt idx="7">
                  <c:v>1.5533443536880621E-2</c:v>
                </c:pt>
                <c:pt idx="8">
                  <c:v>4.1276808786712055E-2</c:v>
                </c:pt>
                <c:pt idx="9">
                  <c:v>0.14203560776884933</c:v>
                </c:pt>
                <c:pt idx="10">
                  <c:v>0.17593102821609261</c:v>
                </c:pt>
                <c:pt idx="11">
                  <c:v>0</c:v>
                </c:pt>
                <c:pt idx="12">
                  <c:v>0</c:v>
                </c:pt>
                <c:pt idx="13">
                  <c:v>0.12090250424688632</c:v>
                </c:pt>
                <c:pt idx="14">
                  <c:v>0.23062568329431676</c:v>
                </c:pt>
                <c:pt idx="15">
                  <c:v>4.5884021026767014E-3</c:v>
                </c:pt>
                <c:pt idx="16">
                  <c:v>0.11210850185257781</c:v>
                </c:pt>
                <c:pt idx="17">
                  <c:v>9.6876442849737288E-2</c:v>
                </c:pt>
                <c:pt idx="18">
                  <c:v>4.0800774630673997E-2</c:v>
                </c:pt>
                <c:pt idx="19">
                  <c:v>1.7990186403976836E-2</c:v>
                </c:pt>
                <c:pt idx="20">
                  <c:v>3.451305834815447E-2</c:v>
                </c:pt>
                <c:pt idx="21">
                  <c:v>0.18247160740421753</c:v>
                </c:pt>
                <c:pt idx="22">
                  <c:v>1.1457755063029179E-2</c:v>
                </c:pt>
                <c:pt idx="23">
                  <c:v>0.22649275615754605</c:v>
                </c:pt>
              </c:numCache>
            </c:numRef>
          </c:val>
          <c:extLst>
            <c:ext xmlns:c16="http://schemas.microsoft.com/office/drawing/2014/chart" uri="{C3380CC4-5D6E-409C-BE32-E72D297353CC}">
              <c16:uniqueId val="{00000000-1032-4B9C-B98D-4C5270022452}"/>
            </c:ext>
          </c:extLst>
        </c:ser>
        <c:ser>
          <c:idx val="2"/>
          <c:order val="1"/>
          <c:tx>
            <c:strRef>
              <c:f>'Electricity Generation'!$E$55</c:f>
              <c:strCache>
                <c:ptCount val="1"/>
                <c:pt idx="0">
                  <c:v>Wind</c:v>
                </c:pt>
              </c:strCache>
            </c:strRef>
          </c:tx>
          <c:spPr>
            <a:solidFill>
              <a:srgbClr val="0F55F5"/>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E$56:$E$79</c:f>
              <c:numCache>
                <c:formatCode>General</c:formatCode>
                <c:ptCount val="24"/>
                <c:pt idx="0">
                  <c:v>0.13682735321375852</c:v>
                </c:pt>
                <c:pt idx="1">
                  <c:v>0.17050129954138721</c:v>
                </c:pt>
                <c:pt idx="2">
                  <c:v>3.6794720474269349E-2</c:v>
                </c:pt>
                <c:pt idx="3">
                  <c:v>0.19126828023481524</c:v>
                </c:pt>
                <c:pt idx="4">
                  <c:v>3.261915067054235E-2</c:v>
                </c:pt>
                <c:pt idx="5">
                  <c:v>0.85699899903148713</c:v>
                </c:pt>
                <c:pt idx="6">
                  <c:v>0.2359367606054763</c:v>
                </c:pt>
                <c:pt idx="7">
                  <c:v>0.25067206316504498</c:v>
                </c:pt>
                <c:pt idx="8">
                  <c:v>8.6829121913214624E-2</c:v>
                </c:pt>
                <c:pt idx="9">
                  <c:v>0.30859517819378024</c:v>
                </c:pt>
                <c:pt idx="10">
                  <c:v>1.9625032257353927E-2</c:v>
                </c:pt>
                <c:pt idx="11">
                  <c:v>0</c:v>
                </c:pt>
                <c:pt idx="12">
                  <c:v>0</c:v>
                </c:pt>
                <c:pt idx="13">
                  <c:v>0.43128274653741938</c:v>
                </c:pt>
                <c:pt idx="14">
                  <c:v>0.36296496475817119</c:v>
                </c:pt>
                <c:pt idx="15">
                  <c:v>0.21516555880184096</c:v>
                </c:pt>
                <c:pt idx="16">
                  <c:v>0.14344474338996271</c:v>
                </c:pt>
                <c:pt idx="17">
                  <c:v>0.27955372053837663</c:v>
                </c:pt>
                <c:pt idx="18">
                  <c:v>0.12382092423133312</c:v>
                </c:pt>
                <c:pt idx="19">
                  <c:v>1.472634038017345E-4</c:v>
                </c:pt>
                <c:pt idx="20">
                  <c:v>3.9481552017255842E-4</c:v>
                </c:pt>
                <c:pt idx="21">
                  <c:v>0.22744229440879246</c:v>
                </c:pt>
                <c:pt idx="22">
                  <c:v>0.24961702219992921</c:v>
                </c:pt>
                <c:pt idx="23">
                  <c:v>0.21825604040102453</c:v>
                </c:pt>
              </c:numCache>
            </c:numRef>
          </c:val>
          <c:extLst>
            <c:ext xmlns:c16="http://schemas.microsoft.com/office/drawing/2014/chart" uri="{C3380CC4-5D6E-409C-BE32-E72D297353CC}">
              <c16:uniqueId val="{00000001-1032-4B9C-B98D-4C5270022452}"/>
            </c:ext>
          </c:extLst>
        </c:ser>
        <c:ser>
          <c:idx val="3"/>
          <c:order val="2"/>
          <c:tx>
            <c:strRef>
              <c:f>'Electricity Generation'!$F$55</c:f>
              <c:strCache>
                <c:ptCount val="1"/>
                <c:pt idx="0">
                  <c:v>Hydro</c:v>
                </c:pt>
              </c:strCache>
            </c:strRef>
          </c:tx>
          <c:spPr>
            <a:solidFill>
              <a:schemeClr val="accent4"/>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F$56:$F$79</c:f>
              <c:numCache>
                <c:formatCode>General</c:formatCode>
                <c:ptCount val="24"/>
                <c:pt idx="0">
                  <c:v>0.53454474445895617</c:v>
                </c:pt>
                <c:pt idx="1">
                  <c:v>3.9607751408424E-3</c:v>
                </c:pt>
                <c:pt idx="2">
                  <c:v>7.8408752392028325E-2</c:v>
                </c:pt>
                <c:pt idx="3">
                  <c:v>0.40239771325605245</c:v>
                </c:pt>
                <c:pt idx="4">
                  <c:v>0</c:v>
                </c:pt>
                <c:pt idx="5">
                  <c:v>6.9255565153883761E-4</c:v>
                </c:pt>
                <c:pt idx="6">
                  <c:v>1.0892624244693732E-3</c:v>
                </c:pt>
                <c:pt idx="7">
                  <c:v>0.17471865714867013</c:v>
                </c:pt>
                <c:pt idx="8">
                  <c:v>0.1184531766330863</c:v>
                </c:pt>
                <c:pt idx="9">
                  <c:v>3.8582823149948722E-2</c:v>
                </c:pt>
                <c:pt idx="10">
                  <c:v>6.1222686517736309E-3</c:v>
                </c:pt>
                <c:pt idx="11">
                  <c:v>4.8531298330225063E-2</c:v>
                </c:pt>
                <c:pt idx="12">
                  <c:v>0.25395143318525637</c:v>
                </c:pt>
                <c:pt idx="13">
                  <c:v>4.007072413252976E-2</c:v>
                </c:pt>
                <c:pt idx="14">
                  <c:v>8.126210989374047E-2</c:v>
                </c:pt>
                <c:pt idx="15">
                  <c:v>0</c:v>
                </c:pt>
                <c:pt idx="16">
                  <c:v>9.7586084698581717E-3</c:v>
                </c:pt>
                <c:pt idx="17">
                  <c:v>0.23753042128191532</c:v>
                </c:pt>
                <c:pt idx="18">
                  <c:v>0.27847793467542209</c:v>
                </c:pt>
                <c:pt idx="19">
                  <c:v>0.15713815748932408</c:v>
                </c:pt>
                <c:pt idx="20">
                  <c:v>0.33496616301984561</c:v>
                </c:pt>
                <c:pt idx="21">
                  <c:v>0.12295836499056204</c:v>
                </c:pt>
                <c:pt idx="22">
                  <c:v>0.40118836081194087</c:v>
                </c:pt>
                <c:pt idx="23">
                  <c:v>5.2714681951564729E-2</c:v>
                </c:pt>
              </c:numCache>
            </c:numRef>
          </c:val>
          <c:extLst>
            <c:ext xmlns:c16="http://schemas.microsoft.com/office/drawing/2014/chart" uri="{C3380CC4-5D6E-409C-BE32-E72D297353CC}">
              <c16:uniqueId val="{00000002-1032-4B9C-B98D-4C5270022452}"/>
            </c:ext>
          </c:extLst>
        </c:ser>
        <c:ser>
          <c:idx val="0"/>
          <c:order val="3"/>
          <c:tx>
            <c:strRef>
              <c:f>'Electricity Generation'!$C$55</c:f>
              <c:strCache>
                <c:ptCount val="1"/>
                <c:pt idx="0">
                  <c:v>Geothermal</c:v>
                </c:pt>
              </c:strCache>
            </c:strRef>
          </c:tx>
          <c:spPr>
            <a:solidFill>
              <a:srgbClr val="FFFF0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C$56:$C$79</c:f>
              <c:numCache>
                <c:formatCode>General</c:formatCode>
                <c:ptCount val="24"/>
                <c:pt idx="0">
                  <c:v>0</c:v>
                </c:pt>
                <c:pt idx="1">
                  <c:v>0</c:v>
                </c:pt>
                <c:pt idx="2">
                  <c:v>0</c:v>
                </c:pt>
                <c:pt idx="3">
                  <c:v>0</c:v>
                </c:pt>
                <c:pt idx="4">
                  <c:v>0</c:v>
                </c:pt>
                <c:pt idx="5">
                  <c:v>0</c:v>
                </c:pt>
                <c:pt idx="6">
                  <c:v>0</c:v>
                </c:pt>
                <c:pt idx="7">
                  <c:v>0</c:v>
                </c:pt>
                <c:pt idx="8">
                  <c:v>0</c:v>
                </c:pt>
                <c:pt idx="9">
                  <c:v>4.552040102938991E-4</c:v>
                </c:pt>
                <c:pt idx="10">
                  <c:v>1.277996065043696E-4</c:v>
                </c:pt>
                <c:pt idx="11">
                  <c:v>0</c:v>
                </c:pt>
                <c:pt idx="12">
                  <c:v>2.6424667081110895E-2</c:v>
                </c:pt>
                <c:pt idx="13">
                  <c:v>0</c:v>
                </c:pt>
                <c:pt idx="14">
                  <c:v>0</c:v>
                </c:pt>
                <c:pt idx="15">
                  <c:v>0</c:v>
                </c:pt>
                <c:pt idx="16">
                  <c:v>0</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3-1032-4B9C-B98D-4C5270022452}"/>
            </c:ext>
          </c:extLst>
        </c:ser>
        <c:ser>
          <c:idx val="4"/>
          <c:order val="4"/>
          <c:tx>
            <c:strRef>
              <c:f>'Electricity Generation'!$G$55</c:f>
              <c:strCache>
                <c:ptCount val="1"/>
                <c:pt idx="0">
                  <c:v>Other RES</c:v>
                </c:pt>
              </c:strCache>
            </c:strRef>
          </c:tx>
          <c:spPr>
            <a:solidFill>
              <a:schemeClr val="accent3">
                <a:lumMod val="50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G$56:$G$79</c:f>
              <c:numCache>
                <c:formatCode>General</c:formatCode>
                <c:ptCount val="24"/>
                <c:pt idx="0">
                  <c:v>1.2832475700224822E-2</c:v>
                </c:pt>
                <c:pt idx="1">
                  <c:v>2.86487462376195E-2</c:v>
                </c:pt>
                <c:pt idx="2">
                  <c:v>6.8828624163672146E-4</c:v>
                </c:pt>
                <c:pt idx="3">
                  <c:v>2.5151435319631332E-2</c:v>
                </c:pt>
                <c:pt idx="4">
                  <c:v>0</c:v>
                </c:pt>
                <c:pt idx="5">
                  <c:v>3.5807383148111598E-2</c:v>
                </c:pt>
                <c:pt idx="6">
                  <c:v>2.4528621228649818E-2</c:v>
                </c:pt>
                <c:pt idx="7">
                  <c:v>4.9883087464715585E-3</c:v>
                </c:pt>
                <c:pt idx="8">
                  <c:v>3.5908924923763507E-3</c:v>
                </c:pt>
                <c:pt idx="9">
                  <c:v>1.627156658894802E-2</c:v>
                </c:pt>
                <c:pt idx="10">
                  <c:v>7.9932957299446664E-3</c:v>
                </c:pt>
                <c:pt idx="11">
                  <c:v>0</c:v>
                </c:pt>
                <c:pt idx="12">
                  <c:v>0</c:v>
                </c:pt>
                <c:pt idx="13">
                  <c:v>8.3477664625293158E-2</c:v>
                </c:pt>
                <c:pt idx="14">
                  <c:v>7.2911543077978397E-2</c:v>
                </c:pt>
                <c:pt idx="15">
                  <c:v>2.6330099113638237E-2</c:v>
                </c:pt>
                <c:pt idx="16">
                  <c:v>1.9638038979828201E-3</c:v>
                </c:pt>
                <c:pt idx="17">
                  <c:v>0</c:v>
                </c:pt>
                <c:pt idx="18">
                  <c:v>0</c:v>
                </c:pt>
                <c:pt idx="19">
                  <c:v>1.5526306549122145E-2</c:v>
                </c:pt>
                <c:pt idx="20">
                  <c:v>2.9605597696933479E-3</c:v>
                </c:pt>
                <c:pt idx="21">
                  <c:v>9.6816882277928444E-3</c:v>
                </c:pt>
                <c:pt idx="22">
                  <c:v>0</c:v>
                </c:pt>
                <c:pt idx="23">
                  <c:v>0</c:v>
                </c:pt>
              </c:numCache>
            </c:numRef>
          </c:val>
          <c:extLst>
            <c:ext xmlns:c16="http://schemas.microsoft.com/office/drawing/2014/chart" uri="{C3380CC4-5D6E-409C-BE32-E72D297353CC}">
              <c16:uniqueId val="{00000004-1032-4B9C-B98D-4C5270022452}"/>
            </c:ext>
          </c:extLst>
        </c:ser>
        <c:ser>
          <c:idx val="6"/>
          <c:order val="5"/>
          <c:tx>
            <c:strRef>
              <c:f>'Electricity Generation'!$I$55</c:f>
              <c:strCache>
                <c:ptCount val="1"/>
                <c:pt idx="0">
                  <c:v>Natural Gas</c:v>
                </c:pt>
              </c:strCache>
            </c:strRef>
          </c:tx>
          <c:spPr>
            <a:solidFill>
              <a:schemeClr val="bg2">
                <a:lumMod val="75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I$56:$I$79</c:f>
              <c:numCache>
                <c:formatCode>General</c:formatCode>
                <c:ptCount val="24"/>
                <c:pt idx="0">
                  <c:v>8.8190597588517924E-2</c:v>
                </c:pt>
                <c:pt idx="1">
                  <c:v>0.15623900974342783</c:v>
                </c:pt>
                <c:pt idx="2">
                  <c:v>5.6188955565473889E-2</c:v>
                </c:pt>
                <c:pt idx="3">
                  <c:v>0.21033511408266889</c:v>
                </c:pt>
                <c:pt idx="4">
                  <c:v>0</c:v>
                </c:pt>
                <c:pt idx="5">
                  <c:v>7.7753377309526958E-2</c:v>
                </c:pt>
                <c:pt idx="6">
                  <c:v>0.10389198482875459</c:v>
                </c:pt>
                <c:pt idx="7">
                  <c:v>1.587794219447065E-2</c:v>
                </c:pt>
                <c:pt idx="8">
                  <c:v>3.3088199301548889E-2</c:v>
                </c:pt>
                <c:pt idx="9">
                  <c:v>0.12989275508867559</c:v>
                </c:pt>
                <c:pt idx="10">
                  <c:v>0.19807357272443454</c:v>
                </c:pt>
                <c:pt idx="11">
                  <c:v>0.64229639103391456</c:v>
                </c:pt>
                <c:pt idx="12">
                  <c:v>0.54093793577865557</c:v>
                </c:pt>
                <c:pt idx="13">
                  <c:v>0.10706796164239847</c:v>
                </c:pt>
                <c:pt idx="14">
                  <c:v>5.1127353856782097E-2</c:v>
                </c:pt>
                <c:pt idx="15">
                  <c:v>0.27489976543759387</c:v>
                </c:pt>
                <c:pt idx="16">
                  <c:v>0.12055012549232487</c:v>
                </c:pt>
                <c:pt idx="17">
                  <c:v>9.7273309030784086E-2</c:v>
                </c:pt>
                <c:pt idx="18">
                  <c:v>0.20085854622154611</c:v>
                </c:pt>
                <c:pt idx="19">
                  <c:v>8.0927568762259566E-2</c:v>
                </c:pt>
                <c:pt idx="20">
                  <c:v>3.2277298408826004E-2</c:v>
                </c:pt>
                <c:pt idx="21">
                  <c:v>0.16358206971283443</c:v>
                </c:pt>
                <c:pt idx="22">
                  <c:v>2.7033180983080563E-5</c:v>
                </c:pt>
                <c:pt idx="23">
                  <c:v>0.4204215076745631</c:v>
                </c:pt>
              </c:numCache>
            </c:numRef>
          </c:val>
          <c:extLst>
            <c:ext xmlns:c16="http://schemas.microsoft.com/office/drawing/2014/chart" uri="{C3380CC4-5D6E-409C-BE32-E72D297353CC}">
              <c16:uniqueId val="{00000005-1032-4B9C-B98D-4C5270022452}"/>
            </c:ext>
          </c:extLst>
        </c:ser>
        <c:ser>
          <c:idx val="5"/>
          <c:order val="6"/>
          <c:tx>
            <c:strRef>
              <c:f>'Electricity Generation'!$H$55</c:f>
              <c:strCache>
                <c:ptCount val="1"/>
                <c:pt idx="0">
                  <c:v>Lignite</c:v>
                </c:pt>
              </c:strCache>
            </c:strRef>
          </c:tx>
          <c:spPr>
            <a:solidFill>
              <a:schemeClr val="tx2">
                <a:lumMod val="75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H$56:$H$79</c:f>
              <c:numCache>
                <c:formatCode>General</c:formatCode>
                <c:ptCount val="24"/>
                <c:pt idx="0">
                  <c:v>0</c:v>
                </c:pt>
                <c:pt idx="1">
                  <c:v>0</c:v>
                </c:pt>
                <c:pt idx="2">
                  <c:v>0.26650705916373724</c:v>
                </c:pt>
                <c:pt idx="3">
                  <c:v>5.343309607915387E-2</c:v>
                </c:pt>
                <c:pt idx="4">
                  <c:v>0</c:v>
                </c:pt>
                <c:pt idx="5">
                  <c:v>0.13713469901315853</c:v>
                </c:pt>
                <c:pt idx="6">
                  <c:v>0</c:v>
                </c:pt>
                <c:pt idx="7">
                  <c:v>1.3710796041656615E-2</c:v>
                </c:pt>
                <c:pt idx="8">
                  <c:v>1.0148523839258715E-3</c:v>
                </c:pt>
                <c:pt idx="9">
                  <c:v>0.21988228918758324</c:v>
                </c:pt>
                <c:pt idx="10">
                  <c:v>8.0784047143985474E-2</c:v>
                </c:pt>
                <c:pt idx="11">
                  <c:v>8.7701592129159608E-2</c:v>
                </c:pt>
                <c:pt idx="12">
                  <c:v>1.9496573228174687E-2</c:v>
                </c:pt>
                <c:pt idx="13">
                  <c:v>0</c:v>
                </c:pt>
                <c:pt idx="14">
                  <c:v>0</c:v>
                </c:pt>
                <c:pt idx="15">
                  <c:v>9.7778362869071517E-2</c:v>
                </c:pt>
                <c:pt idx="16">
                  <c:v>0.54976845792305173</c:v>
                </c:pt>
                <c:pt idx="17">
                  <c:v>0</c:v>
                </c:pt>
                <c:pt idx="18">
                  <c:v>0.13617904491196056</c:v>
                </c:pt>
                <c:pt idx="19">
                  <c:v>8.490285016973494E-3</c:v>
                </c:pt>
                <c:pt idx="20">
                  <c:v>0.20727048622032276</c:v>
                </c:pt>
                <c:pt idx="21">
                  <c:v>1.1485102635373919E-2</c:v>
                </c:pt>
                <c:pt idx="22">
                  <c:v>0</c:v>
                </c:pt>
                <c:pt idx="23">
                  <c:v>6.4804131889632688E-2</c:v>
                </c:pt>
              </c:numCache>
            </c:numRef>
          </c:val>
          <c:extLst>
            <c:ext xmlns:c16="http://schemas.microsoft.com/office/drawing/2014/chart" uri="{C3380CC4-5D6E-409C-BE32-E72D297353CC}">
              <c16:uniqueId val="{00000006-1032-4B9C-B98D-4C5270022452}"/>
            </c:ext>
          </c:extLst>
        </c:ser>
        <c:ser>
          <c:idx val="7"/>
          <c:order val="7"/>
          <c:tx>
            <c:strRef>
              <c:f>'Electricity Generation'!$J$55</c:f>
              <c:strCache>
                <c:ptCount val="1"/>
                <c:pt idx="0">
                  <c:v>Oil</c:v>
                </c:pt>
              </c:strCache>
            </c:strRef>
          </c:tx>
          <c:spPr>
            <a:solidFill>
              <a:schemeClr val="bg2">
                <a:lumMod val="10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J$56:$J$79</c:f>
              <c:numCache>
                <c:formatCode>General</c:formatCode>
                <c:ptCount val="24"/>
                <c:pt idx="0">
                  <c:v>0</c:v>
                </c:pt>
                <c:pt idx="1">
                  <c:v>1.6576300793743647E-5</c:v>
                </c:pt>
                <c:pt idx="2">
                  <c:v>0</c:v>
                </c:pt>
                <c:pt idx="3">
                  <c:v>2.1135183940052161E-4</c:v>
                </c:pt>
                <c:pt idx="4">
                  <c:v>0.78570763357110585</c:v>
                </c:pt>
                <c:pt idx="5">
                  <c:v>1.5167748711490483E-2</c:v>
                </c:pt>
                <c:pt idx="6">
                  <c:v>0.34475775441673462</c:v>
                </c:pt>
                <c:pt idx="7">
                  <c:v>8.0713947827128847E-5</c:v>
                </c:pt>
                <c:pt idx="8">
                  <c:v>2.5706124513567271E-3</c:v>
                </c:pt>
                <c:pt idx="9">
                  <c:v>7.2526252773420464E-3</c:v>
                </c:pt>
                <c:pt idx="10">
                  <c:v>7.8343486916547186E-4</c:v>
                </c:pt>
                <c:pt idx="11">
                  <c:v>0.12227647660054078</c:v>
                </c:pt>
                <c:pt idx="12">
                  <c:v>5.9890332160892328E-3</c:v>
                </c:pt>
                <c:pt idx="13">
                  <c:v>0</c:v>
                </c:pt>
                <c:pt idx="14">
                  <c:v>0</c:v>
                </c:pt>
                <c:pt idx="15">
                  <c:v>0</c:v>
                </c:pt>
                <c:pt idx="16">
                  <c:v>1.0222837139106997E-2</c:v>
                </c:pt>
                <c:pt idx="17">
                  <c:v>0</c:v>
                </c:pt>
                <c:pt idx="18">
                  <c:v>0</c:v>
                </c:pt>
                <c:pt idx="19">
                  <c:v>1.1921093790045439E-2</c:v>
                </c:pt>
                <c:pt idx="20">
                  <c:v>8.5917724741482279E-5</c:v>
                </c:pt>
                <c:pt idx="21">
                  <c:v>1.182878664041505E-3</c:v>
                </c:pt>
                <c:pt idx="22">
                  <c:v>0</c:v>
                </c:pt>
                <c:pt idx="23">
                  <c:v>0</c:v>
                </c:pt>
              </c:numCache>
            </c:numRef>
          </c:val>
          <c:extLst>
            <c:ext xmlns:c16="http://schemas.microsoft.com/office/drawing/2014/chart" uri="{C3380CC4-5D6E-409C-BE32-E72D297353CC}">
              <c16:uniqueId val="{00000007-1032-4B9C-B98D-4C5270022452}"/>
            </c:ext>
          </c:extLst>
        </c:ser>
        <c:ser>
          <c:idx val="8"/>
          <c:order val="8"/>
          <c:tx>
            <c:strRef>
              <c:f>'Electricity Generation'!$K$55</c:f>
              <c:strCache>
                <c:ptCount val="1"/>
                <c:pt idx="0">
                  <c:v>Other Fossil Fuels</c:v>
                </c:pt>
              </c:strCache>
            </c:strRef>
          </c:tx>
          <c:spPr>
            <a:solidFill>
              <a:srgbClr val="710364"/>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K$56:$K$79</c:f>
              <c:numCache>
                <c:formatCode>General</c:formatCode>
                <c:ptCount val="24"/>
                <c:pt idx="0">
                  <c:v>2.8231446540494605E-3</c:v>
                </c:pt>
                <c:pt idx="1">
                  <c:v>8.2543631597682326E-2</c:v>
                </c:pt>
                <c:pt idx="2">
                  <c:v>0</c:v>
                </c:pt>
                <c:pt idx="3">
                  <c:v>0</c:v>
                </c:pt>
                <c:pt idx="4">
                  <c:v>0</c:v>
                </c:pt>
                <c:pt idx="5">
                  <c:v>0</c:v>
                </c:pt>
                <c:pt idx="6">
                  <c:v>0</c:v>
                </c:pt>
                <c:pt idx="7">
                  <c:v>4.2660050533790336E-2</c:v>
                </c:pt>
                <c:pt idx="8">
                  <c:v>0</c:v>
                </c:pt>
                <c:pt idx="9">
                  <c:v>3.287324731378956E-3</c:v>
                </c:pt>
                <c:pt idx="10">
                  <c:v>1.3642281205418449E-2</c:v>
                </c:pt>
                <c:pt idx="11">
                  <c:v>3.6288707520067041E-2</c:v>
                </c:pt>
                <c:pt idx="12">
                  <c:v>8.6601437367971865E-2</c:v>
                </c:pt>
                <c:pt idx="13">
                  <c:v>3.5785218427076555E-2</c:v>
                </c:pt>
                <c:pt idx="14">
                  <c:v>0</c:v>
                </c:pt>
                <c:pt idx="15">
                  <c:v>0.34784749902033729</c:v>
                </c:pt>
                <c:pt idx="16">
                  <c:v>2.9992031903034389E-2</c:v>
                </c:pt>
                <c:pt idx="17">
                  <c:v>4.9393900027573778E-3</c:v>
                </c:pt>
                <c:pt idx="18">
                  <c:v>0</c:v>
                </c:pt>
                <c:pt idx="19">
                  <c:v>3.1398896364932601E-2</c:v>
                </c:pt>
                <c:pt idx="20">
                  <c:v>0</c:v>
                </c:pt>
                <c:pt idx="21">
                  <c:v>7.4176179211432407E-4</c:v>
                </c:pt>
                <c:pt idx="22">
                  <c:v>3.6941763961723564E-2</c:v>
                </c:pt>
                <c:pt idx="23">
                  <c:v>0</c:v>
                </c:pt>
              </c:numCache>
            </c:numRef>
          </c:val>
          <c:extLst>
            <c:ext xmlns:c16="http://schemas.microsoft.com/office/drawing/2014/chart" uri="{C3380CC4-5D6E-409C-BE32-E72D297353CC}">
              <c16:uniqueId val="{00000008-1032-4B9C-B98D-4C5270022452}"/>
            </c:ext>
          </c:extLst>
        </c:ser>
        <c:ser>
          <c:idx val="9"/>
          <c:order val="9"/>
          <c:tx>
            <c:strRef>
              <c:f>'Electricity Generation'!$L$55</c:f>
              <c:strCache>
                <c:ptCount val="1"/>
                <c:pt idx="0">
                  <c:v>Nuclear</c:v>
                </c:pt>
              </c:strCache>
            </c:strRef>
          </c:tx>
          <c:spPr>
            <a:solidFill>
              <a:srgbClr val="AE78D6"/>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L$56:$L$79</c:f>
              <c:numCache>
                <c:formatCode>General</c:formatCode>
                <c:ptCount val="24"/>
                <c:pt idx="0">
                  <c:v>0</c:v>
                </c:pt>
                <c:pt idx="1">
                  <c:v>0.40232959407169777</c:v>
                </c:pt>
                <c:pt idx="2">
                  <c:v>0.42282895317228769</c:v>
                </c:pt>
                <c:pt idx="3">
                  <c:v>0</c:v>
                </c:pt>
                <c:pt idx="4">
                  <c:v>0</c:v>
                </c:pt>
                <c:pt idx="5">
                  <c:v>0</c:v>
                </c:pt>
                <c:pt idx="6">
                  <c:v>0</c:v>
                </c:pt>
                <c:pt idx="7">
                  <c:v>0.40010025660917059</c:v>
                </c:pt>
                <c:pt idx="8">
                  <c:v>0.68259805872480939</c:v>
                </c:pt>
                <c:pt idx="9">
                  <c:v>0</c:v>
                </c:pt>
                <c:pt idx="10">
                  <c:v>0.46845742046297939</c:v>
                </c:pt>
                <c:pt idx="11">
                  <c:v>0</c:v>
                </c:pt>
                <c:pt idx="12">
                  <c:v>0</c:v>
                </c:pt>
                <c:pt idx="13">
                  <c:v>0</c:v>
                </c:pt>
                <c:pt idx="14">
                  <c:v>0</c:v>
                </c:pt>
                <c:pt idx="15">
                  <c:v>3.1861026519969776E-2</c:v>
                </c:pt>
                <c:pt idx="16">
                  <c:v>0</c:v>
                </c:pt>
                <c:pt idx="17">
                  <c:v>0</c:v>
                </c:pt>
                <c:pt idx="18">
                  <c:v>0.21130223847527121</c:v>
                </c:pt>
                <c:pt idx="19">
                  <c:v>0.60428559426729778</c:v>
                </c:pt>
                <c:pt idx="20">
                  <c:v>0.36343937558245765</c:v>
                </c:pt>
                <c:pt idx="21">
                  <c:v>0.2017822022596395</c:v>
                </c:pt>
                <c:pt idx="22">
                  <c:v>0.30076806478239415</c:v>
                </c:pt>
                <c:pt idx="23">
                  <c:v>0</c:v>
                </c:pt>
              </c:numCache>
            </c:numRef>
          </c:val>
          <c:extLst>
            <c:ext xmlns:c16="http://schemas.microsoft.com/office/drawing/2014/chart" uri="{C3380CC4-5D6E-409C-BE32-E72D297353CC}">
              <c16:uniqueId val="{00000009-1032-4B9C-B98D-4C5270022452}"/>
            </c:ext>
          </c:extLst>
        </c:ser>
        <c:dLbls>
          <c:showLegendKey val="0"/>
          <c:showVal val="0"/>
          <c:showCatName val="0"/>
          <c:showSerName val="0"/>
          <c:showPercent val="0"/>
          <c:showBubbleSize val="0"/>
        </c:dLbls>
        <c:gapWidth val="23"/>
        <c:overlap val="100"/>
        <c:axId val="1495472799"/>
        <c:axId val="1495467999"/>
      </c:barChart>
      <c:catAx>
        <c:axId val="14954727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1495467999"/>
        <c:crosses val="autoZero"/>
        <c:auto val="1"/>
        <c:lblAlgn val="ctr"/>
        <c:lblOffset val="100"/>
        <c:noMultiLvlLbl val="0"/>
      </c:catAx>
      <c:valAx>
        <c:axId val="1495467999"/>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1495472799"/>
        <c:crosses val="autoZero"/>
        <c:crossBetween val="between"/>
      </c:valAx>
      <c:spPr>
        <a:noFill/>
        <a:ln>
          <a:noFill/>
        </a:ln>
        <a:effectLst/>
      </c:spPr>
    </c:plotArea>
    <c:legend>
      <c:legendPos val="t"/>
      <c:layout>
        <c:manualLayout>
          <c:xMode val="edge"/>
          <c:yMode val="edge"/>
          <c:x val="6.4526939566367486E-2"/>
          <c:y val="1.6114508598422637E-2"/>
          <c:w val="0.92316829606820816"/>
          <c:h val="7.991569701171029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469816272965882E-2"/>
          <c:y val="3.6000575037306561E-2"/>
          <c:w val="0.89019685039370078"/>
          <c:h val="0.82412038527499543"/>
        </c:manualLayout>
      </c:layout>
      <c:barChart>
        <c:barDir val="col"/>
        <c:grouping val="clustered"/>
        <c:varyColors val="0"/>
        <c:ser>
          <c:idx val="0"/>
          <c:order val="0"/>
          <c:spPr>
            <a:solidFill>
              <a:srgbClr val="007CB0"/>
            </a:solidFill>
            <a:ln>
              <a:noFill/>
            </a:ln>
            <a:effectLst/>
          </c:spPr>
          <c:invertIfNegative val="0"/>
          <c:cat>
            <c:strRef>
              <c:f>Sheet1!$A$3:$A$14</c:f>
              <c:strCache>
                <c:ptCount val="12"/>
                <c:pt idx="0">
                  <c:v>Jan</c:v>
                </c:pt>
                <c:pt idx="1">
                  <c:v>Feb</c:v>
                </c:pt>
                <c:pt idx="2">
                  <c:v>Mar</c:v>
                </c:pt>
                <c:pt idx="3">
                  <c:v>Apr</c:v>
                </c:pt>
                <c:pt idx="4">
                  <c:v>May</c:v>
                </c:pt>
                <c:pt idx="5">
                  <c:v>Jun</c:v>
                </c:pt>
                <c:pt idx="6">
                  <c:v>Jul</c:v>
                </c:pt>
                <c:pt idx="7">
                  <c:v>Aug</c:v>
                </c:pt>
                <c:pt idx="8">
                  <c:v>Sep</c:v>
                </c:pt>
                <c:pt idx="9">
                  <c:v>Oct</c:v>
                </c:pt>
                <c:pt idx="10">
                  <c:v>Nov </c:v>
                </c:pt>
                <c:pt idx="11">
                  <c:v>Dec</c:v>
                </c:pt>
              </c:strCache>
            </c:strRef>
          </c:cat>
          <c:val>
            <c:numRef>
              <c:f>Sheet1!$C$3:$C$14</c:f>
              <c:numCache>
                <c:formatCode>General</c:formatCode>
                <c:ptCount val="12"/>
                <c:pt idx="0">
                  <c:v>5.43</c:v>
                </c:pt>
                <c:pt idx="1">
                  <c:v>4.59</c:v>
                </c:pt>
                <c:pt idx="2">
                  <c:v>64.510000000000005</c:v>
                </c:pt>
                <c:pt idx="3">
                  <c:v>296.83</c:v>
                </c:pt>
                <c:pt idx="4">
                  <c:v>139.35</c:v>
                </c:pt>
                <c:pt idx="5">
                  <c:v>12.24</c:v>
                </c:pt>
                <c:pt idx="6">
                  <c:v>10.99</c:v>
                </c:pt>
                <c:pt idx="7">
                  <c:v>23.02</c:v>
                </c:pt>
                <c:pt idx="8">
                  <c:v>45.57</c:v>
                </c:pt>
                <c:pt idx="9">
                  <c:v>248.6</c:v>
                </c:pt>
                <c:pt idx="10">
                  <c:v>154.49</c:v>
                </c:pt>
                <c:pt idx="11">
                  <c:v>16.489999999999998</c:v>
                </c:pt>
              </c:numCache>
            </c:numRef>
          </c:val>
          <c:extLst>
            <c:ext xmlns:c16="http://schemas.microsoft.com/office/drawing/2014/chart" uri="{C3380CC4-5D6E-409C-BE32-E72D297353CC}">
              <c16:uniqueId val="{00000000-DA8E-4622-946E-6278CF33459C}"/>
            </c:ext>
          </c:extLst>
        </c:ser>
        <c:dLbls>
          <c:showLegendKey val="0"/>
          <c:showVal val="0"/>
          <c:showCatName val="0"/>
          <c:showSerName val="0"/>
          <c:showPercent val="0"/>
          <c:showBubbleSize val="0"/>
        </c:dLbls>
        <c:gapWidth val="100"/>
        <c:axId val="1800085791"/>
        <c:axId val="1800082911"/>
      </c:barChart>
      <c:catAx>
        <c:axId val="1800085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0082911"/>
        <c:crosses val="autoZero"/>
        <c:auto val="1"/>
        <c:lblAlgn val="ctr"/>
        <c:lblOffset val="100"/>
        <c:noMultiLvlLbl val="0"/>
      </c:catAx>
      <c:valAx>
        <c:axId val="180008291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00085791"/>
        <c:crosses val="autoZero"/>
        <c:crossBetween val="between"/>
        <c:minorUnit val="1.0000000000000003E-4"/>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2"/>
          <c:order val="0"/>
          <c:tx>
            <c:strRef>
              <c:f>Φύλλο1!$E$28:$E$29</c:f>
              <c:strCache>
                <c:ptCount val="2"/>
                <c:pt idx="0">
                  <c:v>Capacity (MW)</c:v>
                </c:pt>
                <c:pt idx="1">
                  <c:v>BESS</c:v>
                </c:pt>
              </c:strCache>
            </c:strRef>
          </c:tx>
          <c:spPr>
            <a:solidFill>
              <a:schemeClr val="accent3"/>
            </a:solidFill>
            <a:ln>
              <a:noFill/>
            </a:ln>
            <a:effectLst/>
          </c:spPr>
          <c:invertIfNegative val="0"/>
          <c:cat>
            <c:multiLvlStrRef>
              <c:f>Φύλλο1!$A$30:$B$52</c:f>
              <c:multiLvlStrCache>
                <c:ptCount val="23"/>
                <c:lvl>
                  <c:pt idx="0">
                    <c:v>Q4</c:v>
                  </c:pt>
                  <c:pt idx="1">
                    <c:v>Q3</c:v>
                  </c:pt>
                  <c:pt idx="2">
                    <c:v>Q1</c:v>
                  </c:pt>
                  <c:pt idx="3">
                    <c:v>Q2</c:v>
                  </c:pt>
                  <c:pt idx="4">
                    <c:v>Q3</c:v>
                  </c:pt>
                  <c:pt idx="5">
                    <c:v>Q4</c:v>
                  </c:pt>
                  <c:pt idx="6">
                    <c:v>Q1</c:v>
                  </c:pt>
                  <c:pt idx="7">
                    <c:v>Q2</c:v>
                  </c:pt>
                  <c:pt idx="8">
                    <c:v>Q3</c:v>
                  </c:pt>
                  <c:pt idx="9">
                    <c:v>Q4</c:v>
                  </c:pt>
                  <c:pt idx="10">
                    <c:v>Q1</c:v>
                  </c:pt>
                  <c:pt idx="11">
                    <c:v>Q2</c:v>
                  </c:pt>
                  <c:pt idx="12">
                    <c:v>Q3</c:v>
                  </c:pt>
                  <c:pt idx="13">
                    <c:v>Q4</c:v>
                  </c:pt>
                  <c:pt idx="14">
                    <c:v>Q1</c:v>
                  </c:pt>
                  <c:pt idx="15">
                    <c:v>Q2</c:v>
                  </c:pt>
                  <c:pt idx="16">
                    <c:v>Q3</c:v>
                  </c:pt>
                  <c:pt idx="17">
                    <c:v>Q4</c:v>
                  </c:pt>
                  <c:pt idx="18">
                    <c:v>Q1</c:v>
                  </c:pt>
                  <c:pt idx="19">
                    <c:v>Q2</c:v>
                  </c:pt>
                  <c:pt idx="20">
                    <c:v>Q3</c:v>
                  </c:pt>
                  <c:pt idx="21">
                    <c:v>Q4</c:v>
                  </c:pt>
                  <c:pt idx="22">
                    <c:v>Q1</c:v>
                  </c:pt>
                </c:lvl>
                <c:lvl>
                  <c:pt idx="0">
                    <c:v>2011</c:v>
                  </c:pt>
                  <c:pt idx="1">
                    <c:v>2012</c:v>
                  </c:pt>
                  <c:pt idx="2">
                    <c:v>2020</c:v>
                  </c:pt>
                  <c:pt idx="6">
                    <c:v>2021</c:v>
                  </c:pt>
                  <c:pt idx="10">
                    <c:v>2022</c:v>
                  </c:pt>
                  <c:pt idx="14">
                    <c:v>2023</c:v>
                  </c:pt>
                  <c:pt idx="18">
                    <c:v>2024</c:v>
                  </c:pt>
                  <c:pt idx="22">
                    <c:v>2025</c:v>
                  </c:pt>
                </c:lvl>
              </c:multiLvlStrCache>
            </c:multiLvlStrRef>
          </c:cat>
          <c:val>
            <c:numRef>
              <c:f>Φύλλο1!$E$30:$E$52</c:f>
              <c:numCache>
                <c:formatCode>General</c:formatCode>
                <c:ptCount val="23"/>
                <c:pt idx="0">
                  <c:v>0</c:v>
                </c:pt>
                <c:pt idx="1">
                  <c:v>0</c:v>
                </c:pt>
                <c:pt idx="2">
                  <c:v>0</c:v>
                </c:pt>
                <c:pt idx="3">
                  <c:v>0</c:v>
                </c:pt>
                <c:pt idx="4">
                  <c:v>0</c:v>
                </c:pt>
                <c:pt idx="5">
                  <c:v>0</c:v>
                </c:pt>
                <c:pt idx="6">
                  <c:v>525</c:v>
                </c:pt>
                <c:pt idx="7">
                  <c:v>1060</c:v>
                </c:pt>
                <c:pt idx="8">
                  <c:v>3420.56</c:v>
                </c:pt>
                <c:pt idx="9">
                  <c:v>4519.4549999999999</c:v>
                </c:pt>
                <c:pt idx="10">
                  <c:v>8743.6850000000013</c:v>
                </c:pt>
                <c:pt idx="11">
                  <c:v>12893.483999999999</c:v>
                </c:pt>
                <c:pt idx="12">
                  <c:v>15842.608999999999</c:v>
                </c:pt>
                <c:pt idx="13">
                  <c:v>17323.558999999997</c:v>
                </c:pt>
                <c:pt idx="14">
                  <c:v>18544.351999999999</c:v>
                </c:pt>
                <c:pt idx="15">
                  <c:v>22870.534</c:v>
                </c:pt>
                <c:pt idx="16">
                  <c:v>26263.153999999999</c:v>
                </c:pt>
                <c:pt idx="17">
                  <c:v>30716.613999999998</c:v>
                </c:pt>
                <c:pt idx="18">
                  <c:v>37712.867999999995</c:v>
                </c:pt>
                <c:pt idx="19">
                  <c:v>41944.817999999992</c:v>
                </c:pt>
                <c:pt idx="20">
                  <c:v>44514.607499999991</c:v>
                </c:pt>
                <c:pt idx="21">
                  <c:v>47133.007499999978</c:v>
                </c:pt>
                <c:pt idx="22">
                  <c:v>49598.057499999981</c:v>
                </c:pt>
              </c:numCache>
            </c:numRef>
          </c:val>
          <c:extLst>
            <c:ext xmlns:c16="http://schemas.microsoft.com/office/drawing/2014/chart" uri="{C3380CC4-5D6E-409C-BE32-E72D297353CC}">
              <c16:uniqueId val="{00000000-56D7-4654-B44B-6D8D8D6FD9A5}"/>
            </c:ext>
          </c:extLst>
        </c:ser>
        <c:ser>
          <c:idx val="3"/>
          <c:order val="1"/>
          <c:tx>
            <c:strRef>
              <c:f>Φύλλο1!$F$28:$F$29</c:f>
              <c:strCache>
                <c:ptCount val="2"/>
                <c:pt idx="0">
                  <c:v>Capacity (MW)</c:v>
                </c:pt>
                <c:pt idx="1">
                  <c:v>Pumped Hydro</c:v>
                </c:pt>
              </c:strCache>
            </c:strRef>
          </c:tx>
          <c:spPr>
            <a:solidFill>
              <a:schemeClr val="accent4"/>
            </a:solidFill>
            <a:ln>
              <a:noFill/>
            </a:ln>
            <a:effectLst/>
          </c:spPr>
          <c:invertIfNegative val="0"/>
          <c:cat>
            <c:multiLvlStrRef>
              <c:f>Φύλλο1!$A$30:$B$52</c:f>
              <c:multiLvlStrCache>
                <c:ptCount val="23"/>
                <c:lvl>
                  <c:pt idx="0">
                    <c:v>Q4</c:v>
                  </c:pt>
                  <c:pt idx="1">
                    <c:v>Q3</c:v>
                  </c:pt>
                  <c:pt idx="2">
                    <c:v>Q1</c:v>
                  </c:pt>
                  <c:pt idx="3">
                    <c:v>Q2</c:v>
                  </c:pt>
                  <c:pt idx="4">
                    <c:v>Q3</c:v>
                  </c:pt>
                  <c:pt idx="5">
                    <c:v>Q4</c:v>
                  </c:pt>
                  <c:pt idx="6">
                    <c:v>Q1</c:v>
                  </c:pt>
                  <c:pt idx="7">
                    <c:v>Q2</c:v>
                  </c:pt>
                  <c:pt idx="8">
                    <c:v>Q3</c:v>
                  </c:pt>
                  <c:pt idx="9">
                    <c:v>Q4</c:v>
                  </c:pt>
                  <c:pt idx="10">
                    <c:v>Q1</c:v>
                  </c:pt>
                  <c:pt idx="11">
                    <c:v>Q2</c:v>
                  </c:pt>
                  <c:pt idx="12">
                    <c:v>Q3</c:v>
                  </c:pt>
                  <c:pt idx="13">
                    <c:v>Q4</c:v>
                  </c:pt>
                  <c:pt idx="14">
                    <c:v>Q1</c:v>
                  </c:pt>
                  <c:pt idx="15">
                    <c:v>Q2</c:v>
                  </c:pt>
                  <c:pt idx="16">
                    <c:v>Q3</c:v>
                  </c:pt>
                  <c:pt idx="17">
                    <c:v>Q4</c:v>
                  </c:pt>
                  <c:pt idx="18">
                    <c:v>Q1</c:v>
                  </c:pt>
                  <c:pt idx="19">
                    <c:v>Q2</c:v>
                  </c:pt>
                  <c:pt idx="20">
                    <c:v>Q3</c:v>
                  </c:pt>
                  <c:pt idx="21">
                    <c:v>Q4</c:v>
                  </c:pt>
                  <c:pt idx="22">
                    <c:v>Q1</c:v>
                  </c:pt>
                </c:lvl>
                <c:lvl>
                  <c:pt idx="0">
                    <c:v>2011</c:v>
                  </c:pt>
                  <c:pt idx="1">
                    <c:v>2012</c:v>
                  </c:pt>
                  <c:pt idx="2">
                    <c:v>2020</c:v>
                  </c:pt>
                  <c:pt idx="6">
                    <c:v>2021</c:v>
                  </c:pt>
                  <c:pt idx="10">
                    <c:v>2022</c:v>
                  </c:pt>
                  <c:pt idx="14">
                    <c:v>2023</c:v>
                  </c:pt>
                  <c:pt idx="18">
                    <c:v>2024</c:v>
                  </c:pt>
                  <c:pt idx="22">
                    <c:v>2025</c:v>
                  </c:pt>
                </c:lvl>
              </c:multiLvlStrCache>
            </c:multiLvlStrRef>
          </c:cat>
          <c:val>
            <c:numRef>
              <c:f>Φύλλο1!$F$30:$F$52</c:f>
              <c:numCache>
                <c:formatCode>General</c:formatCode>
                <c:ptCount val="23"/>
                <c:pt idx="0">
                  <c:v>220</c:v>
                </c:pt>
                <c:pt idx="1">
                  <c:v>440</c:v>
                </c:pt>
                <c:pt idx="2">
                  <c:v>900</c:v>
                </c:pt>
                <c:pt idx="3">
                  <c:v>900</c:v>
                </c:pt>
                <c:pt idx="4">
                  <c:v>900</c:v>
                </c:pt>
                <c:pt idx="5">
                  <c:v>900</c:v>
                </c:pt>
                <c:pt idx="6">
                  <c:v>900</c:v>
                </c:pt>
                <c:pt idx="7">
                  <c:v>1877</c:v>
                </c:pt>
                <c:pt idx="8">
                  <c:v>1877</c:v>
                </c:pt>
                <c:pt idx="9">
                  <c:v>3472.7</c:v>
                </c:pt>
                <c:pt idx="10">
                  <c:v>3480.2</c:v>
                </c:pt>
                <c:pt idx="11">
                  <c:v>3488.2</c:v>
                </c:pt>
                <c:pt idx="12">
                  <c:v>3488.2</c:v>
                </c:pt>
                <c:pt idx="13">
                  <c:v>3496.2</c:v>
                </c:pt>
                <c:pt idx="14">
                  <c:v>3496.2</c:v>
                </c:pt>
                <c:pt idx="15">
                  <c:v>3808.2</c:v>
                </c:pt>
                <c:pt idx="16">
                  <c:v>3824.2</c:v>
                </c:pt>
                <c:pt idx="17">
                  <c:v>3824.2</c:v>
                </c:pt>
                <c:pt idx="18">
                  <c:v>5288.2</c:v>
                </c:pt>
                <c:pt idx="19">
                  <c:v>5598.2</c:v>
                </c:pt>
                <c:pt idx="20">
                  <c:v>5870.2</c:v>
                </c:pt>
                <c:pt idx="21">
                  <c:v>6160.2</c:v>
                </c:pt>
                <c:pt idx="22">
                  <c:v>8205.2000000000007</c:v>
                </c:pt>
              </c:numCache>
            </c:numRef>
          </c:val>
          <c:extLst>
            <c:ext xmlns:c16="http://schemas.microsoft.com/office/drawing/2014/chart" uri="{C3380CC4-5D6E-409C-BE32-E72D297353CC}">
              <c16:uniqueId val="{00000001-56D7-4654-B44B-6D8D8D6FD9A5}"/>
            </c:ext>
          </c:extLst>
        </c:ser>
        <c:dLbls>
          <c:showLegendKey val="0"/>
          <c:showVal val="0"/>
          <c:showCatName val="0"/>
          <c:showSerName val="0"/>
          <c:showPercent val="0"/>
          <c:showBubbleSize val="0"/>
        </c:dLbls>
        <c:gapWidth val="219"/>
        <c:overlap val="100"/>
        <c:axId val="50513584"/>
        <c:axId val="25509360"/>
      </c:barChart>
      <c:catAx>
        <c:axId val="50513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509360"/>
        <c:crosses val="autoZero"/>
        <c:auto val="1"/>
        <c:lblAlgn val="ctr"/>
        <c:lblOffset val="100"/>
        <c:noMultiLvlLbl val="0"/>
      </c:catAx>
      <c:valAx>
        <c:axId val="2550936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513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832871085649524E-2"/>
          <c:y val="0.12587932556179393"/>
          <c:w val="0.88650858287002721"/>
          <c:h val="0.75859071230284092"/>
        </c:manualLayout>
      </c:layout>
      <c:barChart>
        <c:barDir val="col"/>
        <c:grouping val="stacked"/>
        <c:varyColors val="0"/>
        <c:ser>
          <c:idx val="0"/>
          <c:order val="0"/>
          <c:tx>
            <c:strRef>
              <c:f>'NECP Batteries'!$A$3</c:f>
              <c:strCache>
                <c:ptCount val="1"/>
                <c:pt idx="0">
                  <c:v>Pumped Hydro</c:v>
                </c:pt>
              </c:strCache>
            </c:strRef>
          </c:tx>
          <c:spPr>
            <a:solidFill>
              <a:srgbClr val="50E69B"/>
            </a:solidFill>
            <a:ln>
              <a:noFill/>
            </a:ln>
            <a:effectLst/>
          </c:spPr>
          <c:invertIfNegative val="0"/>
          <c:cat>
            <c:numRef>
              <c:f>'NECP Batteries'!$B$2:$G$2</c:f>
              <c:numCache>
                <c:formatCode>General</c:formatCode>
                <c:ptCount val="6"/>
                <c:pt idx="0">
                  <c:v>2025</c:v>
                </c:pt>
                <c:pt idx="1">
                  <c:v>2030</c:v>
                </c:pt>
                <c:pt idx="2">
                  <c:v>2035</c:v>
                </c:pt>
                <c:pt idx="3">
                  <c:v>2040</c:v>
                </c:pt>
                <c:pt idx="4">
                  <c:v>2045</c:v>
                </c:pt>
                <c:pt idx="5">
                  <c:v>2050</c:v>
                </c:pt>
              </c:numCache>
            </c:numRef>
          </c:cat>
          <c:val>
            <c:numRef>
              <c:f>'NECP Batteries'!$B$3:$G$3</c:f>
              <c:numCache>
                <c:formatCode>0.00</c:formatCode>
                <c:ptCount val="6"/>
                <c:pt idx="0">
                  <c:v>699</c:v>
                </c:pt>
                <c:pt idx="1">
                  <c:v>1928</c:v>
                </c:pt>
                <c:pt idx="2">
                  <c:v>2949</c:v>
                </c:pt>
                <c:pt idx="3">
                  <c:v>4464</c:v>
                </c:pt>
                <c:pt idx="4">
                  <c:v>5251</c:v>
                </c:pt>
                <c:pt idx="5">
                  <c:v>5453</c:v>
                </c:pt>
              </c:numCache>
            </c:numRef>
          </c:val>
          <c:extLst>
            <c:ext xmlns:c16="http://schemas.microsoft.com/office/drawing/2014/chart" uri="{C3380CC4-5D6E-409C-BE32-E72D297353CC}">
              <c16:uniqueId val="{00000000-3EF0-4411-A39D-264EECF81C05}"/>
            </c:ext>
          </c:extLst>
        </c:ser>
        <c:ser>
          <c:idx val="1"/>
          <c:order val="1"/>
          <c:tx>
            <c:strRef>
              <c:f>'NECP Batteries'!$A$4</c:f>
              <c:strCache>
                <c:ptCount val="1"/>
                <c:pt idx="0">
                  <c:v>Batteries</c:v>
                </c:pt>
              </c:strCache>
            </c:strRef>
          </c:tx>
          <c:spPr>
            <a:solidFill>
              <a:srgbClr val="03C3F8"/>
            </a:solidFill>
            <a:ln>
              <a:noFill/>
            </a:ln>
            <a:effectLst/>
          </c:spPr>
          <c:invertIfNegative val="0"/>
          <c:cat>
            <c:numRef>
              <c:f>'NECP Batteries'!$B$2:$G$2</c:f>
              <c:numCache>
                <c:formatCode>General</c:formatCode>
                <c:ptCount val="6"/>
                <c:pt idx="0">
                  <c:v>2025</c:v>
                </c:pt>
                <c:pt idx="1">
                  <c:v>2030</c:v>
                </c:pt>
                <c:pt idx="2">
                  <c:v>2035</c:v>
                </c:pt>
                <c:pt idx="3">
                  <c:v>2040</c:v>
                </c:pt>
                <c:pt idx="4">
                  <c:v>2045</c:v>
                </c:pt>
                <c:pt idx="5">
                  <c:v>2050</c:v>
                </c:pt>
              </c:numCache>
            </c:numRef>
          </c:cat>
          <c:val>
            <c:numRef>
              <c:f>'NECP Batteries'!$B$4:$G$4</c:f>
              <c:numCache>
                <c:formatCode>0.00</c:formatCode>
                <c:ptCount val="6"/>
                <c:pt idx="0">
                  <c:v>0</c:v>
                </c:pt>
                <c:pt idx="1">
                  <c:v>4325</c:v>
                </c:pt>
                <c:pt idx="2">
                  <c:v>6850</c:v>
                </c:pt>
                <c:pt idx="3">
                  <c:v>8725</c:v>
                </c:pt>
                <c:pt idx="4">
                  <c:v>10375</c:v>
                </c:pt>
                <c:pt idx="5">
                  <c:v>12025</c:v>
                </c:pt>
              </c:numCache>
            </c:numRef>
          </c:val>
          <c:extLst>
            <c:ext xmlns:c16="http://schemas.microsoft.com/office/drawing/2014/chart" uri="{C3380CC4-5D6E-409C-BE32-E72D297353CC}">
              <c16:uniqueId val="{00000001-3EF0-4411-A39D-264EECF81C05}"/>
            </c:ext>
          </c:extLst>
        </c:ser>
        <c:dLbls>
          <c:showLegendKey val="0"/>
          <c:showVal val="0"/>
          <c:showCatName val="0"/>
          <c:showSerName val="0"/>
          <c:showPercent val="0"/>
          <c:showBubbleSize val="0"/>
        </c:dLbls>
        <c:gapWidth val="150"/>
        <c:overlap val="100"/>
        <c:axId val="462208607"/>
        <c:axId val="462192767"/>
      </c:barChart>
      <c:lineChart>
        <c:grouping val="standard"/>
        <c:varyColors val="0"/>
        <c:ser>
          <c:idx val="2"/>
          <c:order val="2"/>
          <c:tx>
            <c:strRef>
              <c:f>'NECP Batteries'!$A$5</c:f>
              <c:strCache>
                <c:ptCount val="1"/>
                <c:pt idx="0">
                  <c:v>Total</c:v>
                </c:pt>
              </c:strCache>
            </c:strRef>
          </c:tx>
          <c:spPr>
            <a:ln w="28575" cap="rnd">
              <a:solidFill>
                <a:srgbClr val="C00000"/>
              </a:solidFill>
              <a:round/>
            </a:ln>
            <a:effectLst/>
          </c:spPr>
          <c:marker>
            <c:symbol val="circle"/>
            <c:size val="5"/>
            <c:spPr>
              <a:solidFill>
                <a:srgbClr val="C00000"/>
              </a:solidFill>
              <a:ln w="9525">
                <a:solidFill>
                  <a:srgbClr val="C00000"/>
                </a:solidFill>
              </a:ln>
              <a:effectLst/>
            </c:spPr>
          </c:marker>
          <c:dLbls>
            <c:numFmt formatCode="#,##0" sourceLinked="0"/>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lt"/>
                    <a:ea typeface="Verdana" panose="020B0604030504040204" pitchFamily="34" charset="0"/>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ECP Batteries'!$B$2:$G$2</c:f>
              <c:numCache>
                <c:formatCode>General</c:formatCode>
                <c:ptCount val="6"/>
                <c:pt idx="0">
                  <c:v>2025</c:v>
                </c:pt>
                <c:pt idx="1">
                  <c:v>2030</c:v>
                </c:pt>
                <c:pt idx="2">
                  <c:v>2035</c:v>
                </c:pt>
                <c:pt idx="3">
                  <c:v>2040</c:v>
                </c:pt>
                <c:pt idx="4">
                  <c:v>2045</c:v>
                </c:pt>
                <c:pt idx="5">
                  <c:v>2050</c:v>
                </c:pt>
              </c:numCache>
            </c:numRef>
          </c:cat>
          <c:val>
            <c:numRef>
              <c:f>'NECP Batteries'!$B$5:$G$5</c:f>
              <c:numCache>
                <c:formatCode>0.00</c:formatCode>
                <c:ptCount val="6"/>
                <c:pt idx="0">
                  <c:v>699</c:v>
                </c:pt>
                <c:pt idx="1">
                  <c:v>6253</c:v>
                </c:pt>
                <c:pt idx="2">
                  <c:v>9799</c:v>
                </c:pt>
                <c:pt idx="3">
                  <c:v>13189</c:v>
                </c:pt>
                <c:pt idx="4">
                  <c:v>15626</c:v>
                </c:pt>
                <c:pt idx="5">
                  <c:v>17478</c:v>
                </c:pt>
              </c:numCache>
            </c:numRef>
          </c:val>
          <c:smooth val="1"/>
          <c:extLst>
            <c:ext xmlns:c16="http://schemas.microsoft.com/office/drawing/2014/chart" uri="{C3380CC4-5D6E-409C-BE32-E72D297353CC}">
              <c16:uniqueId val="{00000002-3EF0-4411-A39D-264EECF81C05}"/>
            </c:ext>
          </c:extLst>
        </c:ser>
        <c:dLbls>
          <c:showLegendKey val="0"/>
          <c:showVal val="0"/>
          <c:showCatName val="0"/>
          <c:showSerName val="0"/>
          <c:showPercent val="0"/>
          <c:showBubbleSize val="0"/>
        </c:dLbls>
        <c:marker val="1"/>
        <c:smooth val="0"/>
        <c:axId val="462208607"/>
        <c:axId val="462192767"/>
      </c:lineChart>
      <c:catAx>
        <c:axId val="462208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crossAx val="462192767"/>
        <c:crosses val="autoZero"/>
        <c:auto val="1"/>
        <c:lblAlgn val="ctr"/>
        <c:lblOffset val="100"/>
        <c:noMultiLvlLbl val="0"/>
      </c:catAx>
      <c:valAx>
        <c:axId val="462192767"/>
        <c:scaling>
          <c:orientation val="minMax"/>
          <c:max val="18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crossAx val="46220860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lt"/>
          <a:ea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El production updated'!$A$13</c:f>
              <c:strCache>
                <c:ptCount val="1"/>
                <c:pt idx="0">
                  <c:v>Λιγνίτης</c:v>
                </c:pt>
              </c:strCache>
            </c:strRef>
          </c:tx>
          <c:spPr>
            <a:solidFill>
              <a:schemeClr val="accent1"/>
            </a:solidFill>
            <a:ln>
              <a:noFill/>
            </a:ln>
            <a:effectLst/>
          </c:spPr>
          <c:invertIfNegative val="0"/>
          <c:val>
            <c:numRef>
              <c:f>'El production updated'!$D$13</c:f>
              <c:numCache>
                <c:formatCode>General</c:formatCode>
                <c:ptCount val="1"/>
                <c:pt idx="0">
                  <c:v>0</c:v>
                </c:pt>
              </c:numCache>
            </c:numRef>
          </c:val>
          <c:extLst>
            <c:ext xmlns:c16="http://schemas.microsoft.com/office/drawing/2014/chart" uri="{C3380CC4-5D6E-409C-BE32-E72D297353CC}">
              <c16:uniqueId val="{00000000-E213-4941-9C0A-C92C158200B7}"/>
            </c:ext>
          </c:extLst>
        </c:ser>
        <c:ser>
          <c:idx val="1"/>
          <c:order val="1"/>
          <c:tx>
            <c:strRef>
              <c:f>'El production updated'!$A$14</c:f>
              <c:strCache>
                <c:ptCount val="1"/>
                <c:pt idx="0">
                  <c:v>Φυσικό αέριο</c:v>
                </c:pt>
              </c:strCache>
            </c:strRef>
          </c:tx>
          <c:spPr>
            <a:solidFill>
              <a:schemeClr val="accent2"/>
            </a:solidFill>
            <a:ln>
              <a:noFill/>
            </a:ln>
            <a:effectLst/>
          </c:spPr>
          <c:invertIfNegative val="0"/>
          <c:val>
            <c:numRef>
              <c:f>'El production updated'!$D$14</c:f>
              <c:numCache>
                <c:formatCode>General</c:formatCode>
                <c:ptCount val="1"/>
                <c:pt idx="0">
                  <c:v>7.9</c:v>
                </c:pt>
              </c:numCache>
            </c:numRef>
          </c:val>
          <c:extLst>
            <c:ext xmlns:c16="http://schemas.microsoft.com/office/drawing/2014/chart" uri="{C3380CC4-5D6E-409C-BE32-E72D297353CC}">
              <c16:uniqueId val="{00000001-E213-4941-9C0A-C92C158200B7}"/>
            </c:ext>
          </c:extLst>
        </c:ser>
        <c:ser>
          <c:idx val="2"/>
          <c:order val="2"/>
          <c:tx>
            <c:strRef>
              <c:f>'El production updated'!$A$15</c:f>
              <c:strCache>
                <c:ptCount val="1"/>
                <c:pt idx="0">
                  <c:v>Πετρέλαιο</c:v>
                </c:pt>
              </c:strCache>
            </c:strRef>
          </c:tx>
          <c:spPr>
            <a:solidFill>
              <a:schemeClr val="accent3"/>
            </a:solidFill>
            <a:ln>
              <a:noFill/>
            </a:ln>
            <a:effectLst/>
          </c:spPr>
          <c:invertIfNegative val="0"/>
          <c:val>
            <c:numRef>
              <c:f>'El production updated'!$D$15</c:f>
              <c:numCache>
                <c:formatCode>General</c:formatCode>
                <c:ptCount val="1"/>
                <c:pt idx="0">
                  <c:v>0.1</c:v>
                </c:pt>
              </c:numCache>
            </c:numRef>
          </c:val>
          <c:extLst>
            <c:ext xmlns:c16="http://schemas.microsoft.com/office/drawing/2014/chart" uri="{C3380CC4-5D6E-409C-BE32-E72D297353CC}">
              <c16:uniqueId val="{00000002-E213-4941-9C0A-C92C158200B7}"/>
            </c:ext>
          </c:extLst>
        </c:ser>
        <c:ser>
          <c:idx val="3"/>
          <c:order val="3"/>
          <c:tx>
            <c:strRef>
              <c:f>'El production updated'!$A$16</c:f>
              <c:strCache>
                <c:ptCount val="1"/>
                <c:pt idx="0">
                  <c:v>Βιομάζα &amp; Βιοαέριο</c:v>
                </c:pt>
              </c:strCache>
            </c:strRef>
          </c:tx>
          <c:spPr>
            <a:solidFill>
              <a:schemeClr val="accent4"/>
            </a:solidFill>
            <a:ln>
              <a:noFill/>
            </a:ln>
            <a:effectLst/>
          </c:spPr>
          <c:invertIfNegative val="0"/>
          <c:val>
            <c:numRef>
              <c:f>'El production updated'!$D$16</c:f>
              <c:numCache>
                <c:formatCode>General</c:formatCode>
                <c:ptCount val="1"/>
                <c:pt idx="0">
                  <c:v>0.1</c:v>
                </c:pt>
              </c:numCache>
            </c:numRef>
          </c:val>
          <c:extLst>
            <c:ext xmlns:c16="http://schemas.microsoft.com/office/drawing/2014/chart" uri="{C3380CC4-5D6E-409C-BE32-E72D297353CC}">
              <c16:uniqueId val="{00000003-E213-4941-9C0A-C92C158200B7}"/>
            </c:ext>
          </c:extLst>
        </c:ser>
        <c:ser>
          <c:idx val="4"/>
          <c:order val="4"/>
          <c:tx>
            <c:strRef>
              <c:f>'El production updated'!$A$17</c:f>
              <c:strCache>
                <c:ptCount val="1"/>
                <c:pt idx="0">
                  <c:v>Φωτοβολταϊκά</c:v>
                </c:pt>
              </c:strCache>
            </c:strRef>
          </c:tx>
          <c:spPr>
            <a:solidFill>
              <a:schemeClr val="accent5"/>
            </a:solidFill>
            <a:ln>
              <a:noFill/>
            </a:ln>
            <a:effectLst/>
          </c:spPr>
          <c:invertIfNegative val="0"/>
          <c:val>
            <c:numRef>
              <c:f>'El production updated'!$D$17</c:f>
              <c:numCache>
                <c:formatCode>General</c:formatCode>
                <c:ptCount val="1"/>
                <c:pt idx="0">
                  <c:v>13.5</c:v>
                </c:pt>
              </c:numCache>
            </c:numRef>
          </c:val>
          <c:extLst>
            <c:ext xmlns:c16="http://schemas.microsoft.com/office/drawing/2014/chart" uri="{C3380CC4-5D6E-409C-BE32-E72D297353CC}">
              <c16:uniqueId val="{00000004-E213-4941-9C0A-C92C158200B7}"/>
            </c:ext>
          </c:extLst>
        </c:ser>
        <c:ser>
          <c:idx val="5"/>
          <c:order val="5"/>
          <c:tx>
            <c:strRef>
              <c:f>'El production updated'!$A$18</c:f>
              <c:strCache>
                <c:ptCount val="1"/>
                <c:pt idx="0">
                  <c:v>Αιολικά χερσαία</c:v>
                </c:pt>
              </c:strCache>
            </c:strRef>
          </c:tx>
          <c:spPr>
            <a:solidFill>
              <a:schemeClr val="accent6"/>
            </a:solidFill>
            <a:ln>
              <a:noFill/>
            </a:ln>
            <a:effectLst/>
          </c:spPr>
          <c:invertIfNegative val="0"/>
          <c:val>
            <c:numRef>
              <c:f>'El production updated'!$D$18</c:f>
              <c:numCache>
                <c:formatCode>General</c:formatCode>
                <c:ptCount val="1"/>
                <c:pt idx="0">
                  <c:v>8.9</c:v>
                </c:pt>
              </c:numCache>
            </c:numRef>
          </c:val>
          <c:extLst>
            <c:ext xmlns:c16="http://schemas.microsoft.com/office/drawing/2014/chart" uri="{C3380CC4-5D6E-409C-BE32-E72D297353CC}">
              <c16:uniqueId val="{00000005-E213-4941-9C0A-C92C158200B7}"/>
            </c:ext>
          </c:extLst>
        </c:ser>
        <c:ser>
          <c:idx val="6"/>
          <c:order val="6"/>
          <c:tx>
            <c:strRef>
              <c:f>'El production updated'!$A$19</c:f>
              <c:strCache>
                <c:ptCount val="1"/>
                <c:pt idx="0">
                  <c:v>Αιολικά υπεράκτια</c:v>
                </c:pt>
              </c:strCache>
            </c:strRef>
          </c:tx>
          <c:spPr>
            <a:solidFill>
              <a:schemeClr val="accent1">
                <a:lumMod val="60000"/>
              </a:schemeClr>
            </a:solidFill>
            <a:ln>
              <a:noFill/>
            </a:ln>
            <a:effectLst/>
          </c:spPr>
          <c:invertIfNegative val="0"/>
          <c:val>
            <c:numRef>
              <c:f>'El production updated'!$D$19</c:f>
              <c:numCache>
                <c:formatCode>General</c:formatCode>
                <c:ptCount val="1"/>
                <c:pt idx="0">
                  <c:v>1.9</c:v>
                </c:pt>
              </c:numCache>
            </c:numRef>
          </c:val>
          <c:extLst>
            <c:ext xmlns:c16="http://schemas.microsoft.com/office/drawing/2014/chart" uri="{C3380CC4-5D6E-409C-BE32-E72D297353CC}">
              <c16:uniqueId val="{00000006-E213-4941-9C0A-C92C158200B7}"/>
            </c:ext>
          </c:extLst>
        </c:ser>
        <c:ser>
          <c:idx val="7"/>
          <c:order val="7"/>
          <c:tx>
            <c:strRef>
              <c:f>'El production updated'!$A$20</c:f>
              <c:strCache>
                <c:ptCount val="1"/>
                <c:pt idx="0">
                  <c:v>Υδροηλεκτρικά</c:v>
                </c:pt>
              </c:strCache>
            </c:strRef>
          </c:tx>
          <c:spPr>
            <a:solidFill>
              <a:schemeClr val="accent2">
                <a:lumMod val="60000"/>
              </a:schemeClr>
            </a:solidFill>
            <a:ln>
              <a:noFill/>
            </a:ln>
            <a:effectLst/>
          </c:spPr>
          <c:invertIfNegative val="0"/>
          <c:val>
            <c:numRef>
              <c:f>'El production updated'!$D$20</c:f>
              <c:numCache>
                <c:formatCode>General</c:formatCode>
                <c:ptCount val="1"/>
                <c:pt idx="0">
                  <c:v>3.1</c:v>
                </c:pt>
              </c:numCache>
            </c:numRef>
          </c:val>
          <c:extLst>
            <c:ext xmlns:c16="http://schemas.microsoft.com/office/drawing/2014/chart" uri="{C3380CC4-5D6E-409C-BE32-E72D297353CC}">
              <c16:uniqueId val="{00000007-E213-4941-9C0A-C92C158200B7}"/>
            </c:ext>
          </c:extLst>
        </c:ser>
        <c:dLbls>
          <c:showLegendKey val="0"/>
          <c:showVal val="0"/>
          <c:showCatName val="0"/>
          <c:showSerName val="0"/>
          <c:showPercent val="0"/>
          <c:showBubbleSize val="0"/>
        </c:dLbls>
        <c:gapWidth val="150"/>
        <c:overlap val="100"/>
        <c:axId val="89682416"/>
        <c:axId val="89675696"/>
      </c:barChart>
      <c:catAx>
        <c:axId val="89682416"/>
        <c:scaling>
          <c:orientation val="minMax"/>
        </c:scaling>
        <c:delete val="1"/>
        <c:axPos val="l"/>
        <c:numFmt formatCode="General" sourceLinked="1"/>
        <c:majorTickMark val="none"/>
        <c:minorTickMark val="none"/>
        <c:tickLblPos val="nextTo"/>
        <c:crossAx val="89675696"/>
        <c:crosses val="autoZero"/>
        <c:auto val="1"/>
        <c:lblAlgn val="ctr"/>
        <c:lblOffset val="100"/>
        <c:noMultiLvlLbl val="0"/>
      </c:catAx>
      <c:valAx>
        <c:axId val="89675696"/>
        <c:scaling>
          <c:orientation val="minMax"/>
        </c:scaling>
        <c:delete val="0"/>
        <c:axPos val="b"/>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68241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28964788459559E-2"/>
          <c:y val="3.8699785580586302E-2"/>
          <c:w val="0.95334207042308083"/>
          <c:h val="0.845291917827943"/>
        </c:manualLayout>
      </c:layout>
      <c:barChart>
        <c:barDir val="col"/>
        <c:grouping val="stacked"/>
        <c:varyColors val="0"/>
        <c:ser>
          <c:idx val="0"/>
          <c:order val="0"/>
          <c:tx>
            <c:strRef>
              <c:f>'battery cost'!$A$3</c:f>
              <c:strCache>
                <c:ptCount val="1"/>
                <c:pt idx="0">
                  <c:v>Pack </c:v>
                </c:pt>
              </c:strCache>
            </c:strRef>
          </c:tx>
          <c:spPr>
            <a:solidFill>
              <a:srgbClr val="525252"/>
            </a:solidFill>
            <a:ln>
              <a:noFill/>
            </a:ln>
            <a:effectLst/>
          </c:spPr>
          <c:invertIfNegative val="0"/>
          <c:cat>
            <c:numRef>
              <c:f>'battery cost'!$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battery cost'!$B$3:$K$3</c:f>
              <c:numCache>
                <c:formatCode>General</c:formatCode>
                <c:ptCount val="10"/>
                <c:pt idx="0">
                  <c:v>153</c:v>
                </c:pt>
                <c:pt idx="1">
                  <c:v>97</c:v>
                </c:pt>
                <c:pt idx="2">
                  <c:v>79</c:v>
                </c:pt>
                <c:pt idx="3">
                  <c:v>61</c:v>
                </c:pt>
                <c:pt idx="4">
                  <c:v>57</c:v>
                </c:pt>
                <c:pt idx="5">
                  <c:v>42</c:v>
                </c:pt>
                <c:pt idx="6">
                  <c:v>36</c:v>
                </c:pt>
                <c:pt idx="7">
                  <c:v>34</c:v>
                </c:pt>
                <c:pt idx="8">
                  <c:v>33</c:v>
                </c:pt>
                <c:pt idx="9">
                  <c:v>37</c:v>
                </c:pt>
              </c:numCache>
            </c:numRef>
          </c:val>
          <c:extLst>
            <c:ext xmlns:c16="http://schemas.microsoft.com/office/drawing/2014/chart" uri="{C3380CC4-5D6E-409C-BE32-E72D297353CC}">
              <c16:uniqueId val="{00000000-1E46-435D-BFC7-793BE18441C2}"/>
            </c:ext>
          </c:extLst>
        </c:ser>
        <c:ser>
          <c:idx val="1"/>
          <c:order val="1"/>
          <c:tx>
            <c:strRef>
              <c:f>'battery cost'!$A$4</c:f>
              <c:strCache>
                <c:ptCount val="1"/>
                <c:pt idx="0">
                  <c:v>Cell</c:v>
                </c:pt>
              </c:strCache>
            </c:strRef>
          </c:tx>
          <c:spPr>
            <a:solidFill>
              <a:schemeClr val="accent4">
                <a:lumMod val="75000"/>
              </a:schemeClr>
            </a:solidFill>
            <a:ln>
              <a:noFill/>
            </a:ln>
            <a:effectLst/>
          </c:spPr>
          <c:invertIfNegative val="0"/>
          <c:cat>
            <c:numRef>
              <c:f>'battery cost'!$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battery cost'!$B$4:$K$4</c:f>
              <c:numCache>
                <c:formatCode>General</c:formatCode>
                <c:ptCount val="10"/>
                <c:pt idx="0">
                  <c:v>310</c:v>
                </c:pt>
                <c:pt idx="1">
                  <c:v>259</c:v>
                </c:pt>
                <c:pt idx="2">
                  <c:v>187</c:v>
                </c:pt>
                <c:pt idx="3">
                  <c:v>157</c:v>
                </c:pt>
                <c:pt idx="4">
                  <c:v>132</c:v>
                </c:pt>
                <c:pt idx="5">
                  <c:v>123</c:v>
                </c:pt>
                <c:pt idx="6">
                  <c:v>119</c:v>
                </c:pt>
                <c:pt idx="7">
                  <c:v>132</c:v>
                </c:pt>
                <c:pt idx="8">
                  <c:v>111</c:v>
                </c:pt>
                <c:pt idx="9">
                  <c:v>78</c:v>
                </c:pt>
              </c:numCache>
            </c:numRef>
          </c:val>
          <c:extLst>
            <c:ext xmlns:c16="http://schemas.microsoft.com/office/drawing/2014/chart" uri="{C3380CC4-5D6E-409C-BE32-E72D297353CC}">
              <c16:uniqueId val="{00000001-1E46-435D-BFC7-793BE18441C2}"/>
            </c:ext>
          </c:extLst>
        </c:ser>
        <c:dLbls>
          <c:showLegendKey val="0"/>
          <c:showVal val="0"/>
          <c:showCatName val="0"/>
          <c:showSerName val="0"/>
          <c:showPercent val="0"/>
          <c:showBubbleSize val="0"/>
        </c:dLbls>
        <c:gapWidth val="32"/>
        <c:overlap val="100"/>
        <c:axId val="1958875007"/>
        <c:axId val="1958871647"/>
      </c:barChart>
      <c:lineChart>
        <c:grouping val="standard"/>
        <c:varyColors val="0"/>
        <c:ser>
          <c:idx val="2"/>
          <c:order val="2"/>
          <c:tx>
            <c:strRef>
              <c:f>'battery cost'!$A$5</c:f>
              <c:strCache>
                <c:ptCount val="1"/>
                <c:pt idx="0">
                  <c:v>Total Cost</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j-lt"/>
                    <a:ea typeface="Verdana" panose="020B0604030504040204" pitchFamily="34" charset="0"/>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attery cost'!$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battery cost'!$B$5:$K$5</c:f>
              <c:numCache>
                <c:formatCode>General</c:formatCode>
                <c:ptCount val="10"/>
                <c:pt idx="0">
                  <c:v>463</c:v>
                </c:pt>
                <c:pt idx="1">
                  <c:v>356</c:v>
                </c:pt>
                <c:pt idx="2">
                  <c:v>266</c:v>
                </c:pt>
                <c:pt idx="3">
                  <c:v>218</c:v>
                </c:pt>
                <c:pt idx="4">
                  <c:v>189</c:v>
                </c:pt>
                <c:pt idx="5">
                  <c:v>165</c:v>
                </c:pt>
                <c:pt idx="6">
                  <c:v>155</c:v>
                </c:pt>
                <c:pt idx="7">
                  <c:v>166</c:v>
                </c:pt>
                <c:pt idx="8">
                  <c:v>144</c:v>
                </c:pt>
                <c:pt idx="9">
                  <c:v>115</c:v>
                </c:pt>
              </c:numCache>
            </c:numRef>
          </c:val>
          <c:smooth val="0"/>
          <c:extLst>
            <c:ext xmlns:c16="http://schemas.microsoft.com/office/drawing/2014/chart" uri="{C3380CC4-5D6E-409C-BE32-E72D297353CC}">
              <c16:uniqueId val="{00000002-1E46-435D-BFC7-793BE18441C2}"/>
            </c:ext>
          </c:extLst>
        </c:ser>
        <c:dLbls>
          <c:showLegendKey val="0"/>
          <c:showVal val="0"/>
          <c:showCatName val="0"/>
          <c:showSerName val="0"/>
          <c:showPercent val="0"/>
          <c:showBubbleSize val="0"/>
        </c:dLbls>
        <c:marker val="1"/>
        <c:smooth val="0"/>
        <c:axId val="1958875007"/>
        <c:axId val="1958871647"/>
      </c:lineChart>
      <c:catAx>
        <c:axId val="1958875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crossAx val="1958871647"/>
        <c:crosses val="autoZero"/>
        <c:auto val="1"/>
        <c:lblAlgn val="ctr"/>
        <c:lblOffset val="100"/>
        <c:noMultiLvlLbl val="0"/>
      </c:catAx>
      <c:valAx>
        <c:axId val="1958871647"/>
        <c:scaling>
          <c:orientation val="minMax"/>
        </c:scaling>
        <c:delete val="1"/>
        <c:axPos val="l"/>
        <c:numFmt formatCode="General" sourceLinked="1"/>
        <c:majorTickMark val="none"/>
        <c:minorTickMark val="none"/>
        <c:tickLblPos val="nextTo"/>
        <c:crossAx val="1958875007"/>
        <c:crosses val="autoZero"/>
        <c:crossBetween val="between"/>
      </c:valAx>
      <c:spPr>
        <a:noFill/>
        <a:ln>
          <a:noFill/>
        </a:ln>
        <a:effectLst/>
      </c:spPr>
    </c:plotArea>
    <c:legend>
      <c:legendPos val="t"/>
      <c:layout>
        <c:manualLayout>
          <c:xMode val="edge"/>
          <c:yMode val="edge"/>
          <c:x val="0.28884798000318462"/>
          <c:y val="0.12205351957592923"/>
          <c:w val="0.41358751901125029"/>
          <c:h val="0.1042689446859658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j-lt"/>
          <a:ea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5"/>
          <c:order val="0"/>
          <c:tx>
            <c:strRef>
              <c:f>Φύλλο1!$L$60</c:f>
              <c:strCache>
                <c:ptCount val="1"/>
                <c:pt idx="0">
                  <c:v>ΣΗΘΥΑ</c:v>
                </c:pt>
              </c:strCache>
            </c:strRef>
          </c:tx>
          <c:spPr>
            <a:solidFill>
              <a:srgbClr val="FF0000"/>
            </a:solidFill>
            <a:ln>
              <a:noFill/>
            </a:ln>
            <a:effectLst/>
          </c:spPr>
          <c:val>
            <c:numRef>
              <c:f>Φύλλο1!$M$62:$M$76</c:f>
              <c:numCache>
                <c:formatCode>General</c:formatCode>
                <c:ptCount val="15"/>
                <c:pt idx="0">
                  <c:v>7</c:v>
                </c:pt>
                <c:pt idx="1">
                  <c:v>7</c:v>
                </c:pt>
                <c:pt idx="2">
                  <c:v>9</c:v>
                </c:pt>
                <c:pt idx="3">
                  <c:v>7</c:v>
                </c:pt>
                <c:pt idx="4">
                  <c:v>8</c:v>
                </c:pt>
                <c:pt idx="5">
                  <c:v>27</c:v>
                </c:pt>
                <c:pt idx="6">
                  <c:v>8</c:v>
                </c:pt>
                <c:pt idx="7">
                  <c:v>30</c:v>
                </c:pt>
                <c:pt idx="8">
                  <c:v>28</c:v>
                </c:pt>
                <c:pt idx="9">
                  <c:v>32</c:v>
                </c:pt>
                <c:pt idx="10">
                  <c:v>37</c:v>
                </c:pt>
                <c:pt idx="11">
                  <c:v>39</c:v>
                </c:pt>
                <c:pt idx="12">
                  <c:v>40</c:v>
                </c:pt>
                <c:pt idx="13">
                  <c:v>36</c:v>
                </c:pt>
                <c:pt idx="14">
                  <c:v>37</c:v>
                </c:pt>
              </c:numCache>
            </c:numRef>
          </c:val>
          <c:extLst>
            <c:ext xmlns:c16="http://schemas.microsoft.com/office/drawing/2014/chart" uri="{C3380CC4-5D6E-409C-BE32-E72D297353CC}">
              <c16:uniqueId val="{00000000-0708-4ACF-BBD9-41B61C0A686C}"/>
            </c:ext>
          </c:extLst>
        </c:ser>
        <c:ser>
          <c:idx val="3"/>
          <c:order val="1"/>
          <c:tx>
            <c:strRef>
              <c:f>Φύλλο1!$H$60</c:f>
              <c:strCache>
                <c:ptCount val="1"/>
                <c:pt idx="0">
                  <c:v>ΜΥΗΣ</c:v>
                </c:pt>
              </c:strCache>
            </c:strRef>
          </c:tx>
          <c:spPr>
            <a:solidFill>
              <a:schemeClr val="accent4"/>
            </a:solidFill>
            <a:ln>
              <a:noFill/>
            </a:ln>
            <a:effectLst/>
          </c:spPr>
          <c:val>
            <c:numRef>
              <c:f>Φύλλο1!$I$62:$I$76</c:f>
              <c:numCache>
                <c:formatCode>General</c:formatCode>
                <c:ptCount val="15"/>
                <c:pt idx="0">
                  <c:v>72</c:v>
                </c:pt>
                <c:pt idx="1">
                  <c:v>61</c:v>
                </c:pt>
                <c:pt idx="2">
                  <c:v>91</c:v>
                </c:pt>
                <c:pt idx="3">
                  <c:v>57</c:v>
                </c:pt>
                <c:pt idx="4">
                  <c:v>54</c:v>
                </c:pt>
                <c:pt idx="5">
                  <c:v>32</c:v>
                </c:pt>
                <c:pt idx="6">
                  <c:v>23</c:v>
                </c:pt>
                <c:pt idx="7">
                  <c:v>20</c:v>
                </c:pt>
                <c:pt idx="8">
                  <c:v>18</c:v>
                </c:pt>
                <c:pt idx="9">
                  <c:v>18</c:v>
                </c:pt>
                <c:pt idx="10">
                  <c:v>24</c:v>
                </c:pt>
                <c:pt idx="11">
                  <c:v>76</c:v>
                </c:pt>
                <c:pt idx="12">
                  <c:v>75</c:v>
                </c:pt>
                <c:pt idx="13">
                  <c:v>56</c:v>
                </c:pt>
                <c:pt idx="14">
                  <c:v>52</c:v>
                </c:pt>
              </c:numCache>
            </c:numRef>
          </c:val>
          <c:extLst>
            <c:ext xmlns:c16="http://schemas.microsoft.com/office/drawing/2014/chart" uri="{C3380CC4-5D6E-409C-BE32-E72D297353CC}">
              <c16:uniqueId val="{00000001-0708-4ACF-BBD9-41B61C0A686C}"/>
            </c:ext>
          </c:extLst>
        </c:ser>
        <c:ser>
          <c:idx val="1"/>
          <c:order val="2"/>
          <c:tx>
            <c:strRef>
              <c:f>Φύλλο1!$F$60</c:f>
              <c:strCache>
                <c:ptCount val="1"/>
                <c:pt idx="0">
                  <c:v>Φ/Β στέγης</c:v>
                </c:pt>
              </c:strCache>
            </c:strRef>
          </c:tx>
          <c:spPr>
            <a:solidFill>
              <a:srgbClr val="FFFF00"/>
            </a:solidFill>
            <a:ln>
              <a:noFill/>
            </a:ln>
            <a:effectLst/>
          </c:spPr>
          <c:val>
            <c:numRef>
              <c:f>Φύλλο1!$G$62:$G$76</c:f>
              <c:numCache>
                <c:formatCode>General</c:formatCode>
                <c:ptCount val="15"/>
                <c:pt idx="0">
                  <c:v>31</c:v>
                </c:pt>
                <c:pt idx="1">
                  <c:v>26</c:v>
                </c:pt>
                <c:pt idx="2">
                  <c:v>22</c:v>
                </c:pt>
                <c:pt idx="3">
                  <c:v>42</c:v>
                </c:pt>
                <c:pt idx="4">
                  <c:v>43</c:v>
                </c:pt>
                <c:pt idx="5">
                  <c:v>53</c:v>
                </c:pt>
                <c:pt idx="6">
                  <c:v>55</c:v>
                </c:pt>
                <c:pt idx="7">
                  <c:v>55</c:v>
                </c:pt>
                <c:pt idx="8">
                  <c:v>54</c:v>
                </c:pt>
                <c:pt idx="9">
                  <c:v>44</c:v>
                </c:pt>
                <c:pt idx="10">
                  <c:v>37</c:v>
                </c:pt>
                <c:pt idx="11">
                  <c:v>25</c:v>
                </c:pt>
                <c:pt idx="12">
                  <c:v>24</c:v>
                </c:pt>
                <c:pt idx="13">
                  <c:v>23</c:v>
                </c:pt>
                <c:pt idx="14">
                  <c:v>29</c:v>
                </c:pt>
              </c:numCache>
            </c:numRef>
          </c:val>
          <c:extLst>
            <c:ext xmlns:c16="http://schemas.microsoft.com/office/drawing/2014/chart" uri="{C3380CC4-5D6E-409C-BE32-E72D297353CC}">
              <c16:uniqueId val="{00000002-0708-4ACF-BBD9-41B61C0A686C}"/>
            </c:ext>
          </c:extLst>
        </c:ser>
        <c:ser>
          <c:idx val="4"/>
          <c:order val="3"/>
          <c:tx>
            <c:strRef>
              <c:f>Φύλλο1!$J$60</c:f>
              <c:strCache>
                <c:ptCount val="1"/>
                <c:pt idx="0">
                  <c:v>Βιοαέριο-Βιομάζα</c:v>
                </c:pt>
              </c:strCache>
            </c:strRef>
          </c:tx>
          <c:spPr>
            <a:solidFill>
              <a:schemeClr val="accent3"/>
            </a:solidFill>
            <a:ln>
              <a:noFill/>
            </a:ln>
            <a:effectLst/>
          </c:spPr>
          <c:val>
            <c:numRef>
              <c:f>Φύλλο1!$K$62:$K$76</c:f>
              <c:numCache>
                <c:formatCode>General</c:formatCode>
                <c:ptCount val="15"/>
                <c:pt idx="0">
                  <c:v>51</c:v>
                </c:pt>
                <c:pt idx="1">
                  <c:v>50</c:v>
                </c:pt>
                <c:pt idx="2">
                  <c:v>54</c:v>
                </c:pt>
                <c:pt idx="3">
                  <c:v>52</c:v>
                </c:pt>
                <c:pt idx="4">
                  <c:v>56</c:v>
                </c:pt>
                <c:pt idx="5">
                  <c:v>51</c:v>
                </c:pt>
                <c:pt idx="6">
                  <c:v>51</c:v>
                </c:pt>
                <c:pt idx="7">
                  <c:v>52</c:v>
                </c:pt>
                <c:pt idx="8">
                  <c:v>53</c:v>
                </c:pt>
                <c:pt idx="9">
                  <c:v>56</c:v>
                </c:pt>
                <c:pt idx="10">
                  <c:v>56</c:v>
                </c:pt>
                <c:pt idx="11">
                  <c:v>58</c:v>
                </c:pt>
                <c:pt idx="12">
                  <c:v>55</c:v>
                </c:pt>
                <c:pt idx="13">
                  <c:v>49</c:v>
                </c:pt>
                <c:pt idx="14">
                  <c:v>50</c:v>
                </c:pt>
              </c:numCache>
            </c:numRef>
          </c:val>
          <c:extLst>
            <c:ext xmlns:c16="http://schemas.microsoft.com/office/drawing/2014/chart" uri="{C3380CC4-5D6E-409C-BE32-E72D297353CC}">
              <c16:uniqueId val="{00000003-0708-4ACF-BBD9-41B61C0A686C}"/>
            </c:ext>
          </c:extLst>
        </c:ser>
        <c:ser>
          <c:idx val="2"/>
          <c:order val="4"/>
          <c:tx>
            <c:strRef>
              <c:f>Φύλλο1!$D$60</c:f>
              <c:strCache>
                <c:ptCount val="1"/>
                <c:pt idx="0">
                  <c:v>Φ/Β</c:v>
                </c:pt>
              </c:strCache>
            </c:strRef>
          </c:tx>
          <c:spPr>
            <a:solidFill>
              <a:schemeClr val="accent5"/>
            </a:solidFill>
            <a:ln>
              <a:noFill/>
            </a:ln>
            <a:effectLst/>
          </c:spPr>
          <c:val>
            <c:numRef>
              <c:f>Φύλλο1!$E$62:$E$76</c:f>
              <c:numCache>
                <c:formatCode>General</c:formatCode>
                <c:ptCount val="15"/>
                <c:pt idx="0">
                  <c:v>484</c:v>
                </c:pt>
                <c:pt idx="1">
                  <c:v>568</c:v>
                </c:pt>
                <c:pt idx="2">
                  <c:v>715</c:v>
                </c:pt>
                <c:pt idx="3">
                  <c:v>813</c:v>
                </c:pt>
                <c:pt idx="4">
                  <c:v>863</c:v>
                </c:pt>
                <c:pt idx="5">
                  <c:v>995</c:v>
                </c:pt>
                <c:pt idx="6">
                  <c:v>1064</c:v>
                </c:pt>
                <c:pt idx="7">
                  <c:v>997</c:v>
                </c:pt>
                <c:pt idx="8">
                  <c:v>807</c:v>
                </c:pt>
                <c:pt idx="9">
                  <c:v>777</c:v>
                </c:pt>
                <c:pt idx="10">
                  <c:v>500</c:v>
                </c:pt>
                <c:pt idx="11">
                  <c:v>398</c:v>
                </c:pt>
                <c:pt idx="12">
                  <c:v>465</c:v>
                </c:pt>
                <c:pt idx="13">
                  <c:v>454</c:v>
                </c:pt>
                <c:pt idx="14">
                  <c:v>707</c:v>
                </c:pt>
              </c:numCache>
            </c:numRef>
          </c:val>
          <c:extLst>
            <c:ext xmlns:c16="http://schemas.microsoft.com/office/drawing/2014/chart" uri="{C3380CC4-5D6E-409C-BE32-E72D297353CC}">
              <c16:uniqueId val="{00000004-0708-4ACF-BBD9-41B61C0A686C}"/>
            </c:ext>
          </c:extLst>
        </c:ser>
        <c:ser>
          <c:idx val="0"/>
          <c:order val="5"/>
          <c:tx>
            <c:strRef>
              <c:f>Φύλλο1!$B$60</c:f>
              <c:strCache>
                <c:ptCount val="1"/>
                <c:pt idx="0">
                  <c:v>Αιολικά</c:v>
                </c:pt>
              </c:strCache>
            </c:strRef>
          </c:tx>
          <c:spPr>
            <a:solidFill>
              <a:schemeClr val="accent2"/>
            </a:solidFill>
            <a:ln>
              <a:noFill/>
            </a:ln>
            <a:effectLst/>
          </c:spPr>
          <c:cat>
            <c:strRef>
              <c:f>Φύλλο1!$A$62:$A$76</c:f>
              <c:strCache>
                <c:ptCount val="15"/>
                <c:pt idx="0">
                  <c:v>Ιαν 2024</c:v>
                </c:pt>
                <c:pt idx="1">
                  <c:v>Φεβ 2024</c:v>
                </c:pt>
                <c:pt idx="2">
                  <c:v>Μαρ 2024</c:v>
                </c:pt>
                <c:pt idx="3">
                  <c:v>Απρ 2024</c:v>
                </c:pt>
                <c:pt idx="4">
                  <c:v>Μάι 2024</c:v>
                </c:pt>
                <c:pt idx="5">
                  <c:v>Ιουν 2024</c:v>
                </c:pt>
                <c:pt idx="6">
                  <c:v>Ιουλ 2024</c:v>
                </c:pt>
                <c:pt idx="7">
                  <c:v>Αυγ 2024</c:v>
                </c:pt>
                <c:pt idx="8">
                  <c:v>Σεπ 2024</c:v>
                </c:pt>
                <c:pt idx="9">
                  <c:v>Οκτ 2024</c:v>
                </c:pt>
                <c:pt idx="10">
                  <c:v>Νοε 2024</c:v>
                </c:pt>
                <c:pt idx="11">
                  <c:v>Δεκ 2024</c:v>
                </c:pt>
                <c:pt idx="12">
                  <c:v>Ιαν 2025</c:v>
                </c:pt>
                <c:pt idx="13">
                  <c:v>Φεβ 2025</c:v>
                </c:pt>
                <c:pt idx="14">
                  <c:v>Μαρ 2025</c:v>
                </c:pt>
              </c:strCache>
            </c:strRef>
          </c:cat>
          <c:val>
            <c:numRef>
              <c:f>Φύλλο1!$C$62:$C$76</c:f>
              <c:numCache>
                <c:formatCode>General</c:formatCode>
                <c:ptCount val="15"/>
                <c:pt idx="0">
                  <c:v>1482</c:v>
                </c:pt>
                <c:pt idx="1">
                  <c:v>1028</c:v>
                </c:pt>
                <c:pt idx="2">
                  <c:v>767</c:v>
                </c:pt>
                <c:pt idx="3">
                  <c:v>1013</c:v>
                </c:pt>
                <c:pt idx="4">
                  <c:v>724</c:v>
                </c:pt>
                <c:pt idx="5">
                  <c:v>883</c:v>
                </c:pt>
                <c:pt idx="6">
                  <c:v>1140</c:v>
                </c:pt>
                <c:pt idx="7">
                  <c:v>805</c:v>
                </c:pt>
                <c:pt idx="8">
                  <c:v>558</c:v>
                </c:pt>
                <c:pt idx="9">
                  <c:v>1062</c:v>
                </c:pt>
                <c:pt idx="10">
                  <c:v>1105</c:v>
                </c:pt>
                <c:pt idx="11">
                  <c:v>1123</c:v>
                </c:pt>
                <c:pt idx="12">
                  <c:v>848</c:v>
                </c:pt>
                <c:pt idx="13">
                  <c:v>823</c:v>
                </c:pt>
                <c:pt idx="14">
                  <c:v>1024</c:v>
                </c:pt>
              </c:numCache>
            </c:numRef>
          </c:val>
          <c:extLst>
            <c:ext xmlns:c16="http://schemas.microsoft.com/office/drawing/2014/chart" uri="{C3380CC4-5D6E-409C-BE32-E72D297353CC}">
              <c16:uniqueId val="{00000005-0708-4ACF-BBD9-41B61C0A686C}"/>
            </c:ext>
          </c:extLst>
        </c:ser>
        <c:dLbls>
          <c:showLegendKey val="0"/>
          <c:showVal val="0"/>
          <c:showCatName val="0"/>
          <c:showSerName val="0"/>
          <c:showPercent val="0"/>
          <c:showBubbleSize val="0"/>
        </c:dLbls>
        <c:axId val="259405520"/>
        <c:axId val="259408400"/>
      </c:areaChart>
      <c:catAx>
        <c:axId val="25940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59408400"/>
        <c:crosses val="autoZero"/>
        <c:auto val="1"/>
        <c:lblAlgn val="ctr"/>
        <c:lblOffset val="100"/>
        <c:noMultiLvlLbl val="0"/>
      </c:catAx>
      <c:valAx>
        <c:axId val="259408400"/>
        <c:scaling>
          <c:orientation val="minMax"/>
          <c:max val="2400"/>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G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940552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361453835792119E-2"/>
          <c:y val="2.8815045865280826E-3"/>
          <c:w val="0.94916827175944551"/>
          <c:h val="0.96611823727946089"/>
        </c:manualLayout>
      </c:layout>
      <c:barChart>
        <c:barDir val="col"/>
        <c:grouping val="clustered"/>
        <c:varyColors val="0"/>
        <c:ser>
          <c:idx val="0"/>
          <c:order val="0"/>
          <c:tx>
            <c:strRef>
              <c:f>Sheet1!$C$2</c:f>
              <c:strCache>
                <c:ptCount val="1"/>
                <c:pt idx="0">
                  <c:v>2022</c:v>
                </c:pt>
              </c:strCache>
            </c:strRef>
          </c:tx>
          <c:spPr>
            <a:solidFill>
              <a:schemeClr val="bg2"/>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A298-4266-9626-2573C116D2AD}"/>
              </c:ext>
            </c:extLst>
          </c:dPt>
          <c:dLbls>
            <c:dLbl>
              <c:idx val="3"/>
              <c:tx>
                <c:rich>
                  <a:bodyPr/>
                  <a:lstStyle/>
                  <a:p>
                    <a:r>
                      <a:rPr lang="en-US"/>
                      <a:t>44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E10-41C8-9C54-90503541C43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6</c:f>
              <c:strCache>
                <c:ptCount val="4"/>
                <c:pt idx="0">
                  <c:v>Greece</c:v>
                </c:pt>
                <c:pt idx="1">
                  <c:v>Romania</c:v>
                </c:pt>
                <c:pt idx="2">
                  <c:v>Other non-EU Balkans</c:v>
                </c:pt>
                <c:pt idx="3">
                  <c:v>Europe</c:v>
                </c:pt>
              </c:strCache>
            </c:strRef>
          </c:cat>
          <c:val>
            <c:numRef>
              <c:f>Sheet1!$C$3:$C$6</c:f>
              <c:numCache>
                <c:formatCode>_-* #,##0.0_-;\-* #,##0.0_-;_-* "-"??_-;_-@_-</c:formatCode>
                <c:ptCount val="4"/>
                <c:pt idx="0">
                  <c:v>10.6</c:v>
                </c:pt>
                <c:pt idx="1">
                  <c:v>4.76</c:v>
                </c:pt>
                <c:pt idx="2">
                  <c:v>3.3119999999999998</c:v>
                </c:pt>
                <c:pt idx="3" formatCode="_-* #,##0_-;\-* #,##0_-;_-* &quot;-&quot;??_-;_-@_-">
                  <c:v>31.003880493642786</c:v>
                </c:pt>
              </c:numCache>
            </c:numRef>
          </c:val>
          <c:extLst>
            <c:ext xmlns:c16="http://schemas.microsoft.com/office/drawing/2014/chart" uri="{C3380CC4-5D6E-409C-BE32-E72D297353CC}">
              <c16:uniqueId val="{00000004-A298-4266-9626-2573C116D2AD}"/>
            </c:ext>
          </c:extLst>
        </c:ser>
        <c:ser>
          <c:idx val="1"/>
          <c:order val="1"/>
          <c:tx>
            <c:strRef>
              <c:f>Sheet1!$D$2</c:f>
              <c:strCache>
                <c:ptCount val="1"/>
                <c:pt idx="0">
                  <c:v>2025</c:v>
                </c:pt>
              </c:strCache>
            </c:strRef>
          </c:tx>
          <c:spPr>
            <a:solidFill>
              <a:schemeClr val="tx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6-A298-4266-9626-2573C116D2AD}"/>
              </c:ext>
            </c:extLst>
          </c:dPt>
          <c:dLbls>
            <c:dLbl>
              <c:idx val="3"/>
              <c:tx>
                <c:rich>
                  <a:bodyPr/>
                  <a:lstStyle/>
                  <a:p>
                    <a:r>
                      <a:rPr lang="en-US"/>
                      <a:t>74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E10-41C8-9C54-90503541C43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6</c:f>
              <c:strCache>
                <c:ptCount val="4"/>
                <c:pt idx="0">
                  <c:v>Greece</c:v>
                </c:pt>
                <c:pt idx="1">
                  <c:v>Romania</c:v>
                </c:pt>
                <c:pt idx="2">
                  <c:v>Other non-EU Balkans</c:v>
                </c:pt>
                <c:pt idx="3">
                  <c:v>Europe</c:v>
                </c:pt>
              </c:strCache>
            </c:strRef>
          </c:cat>
          <c:val>
            <c:numRef>
              <c:f>Sheet1!$D$3:$D$6</c:f>
              <c:numCache>
                <c:formatCode>_-* #,##0.0_-;\-* #,##0.0_-;_-* "-"??_-;_-@_-</c:formatCode>
                <c:ptCount val="4"/>
                <c:pt idx="0">
                  <c:v>17.547999999999998</c:v>
                </c:pt>
                <c:pt idx="1">
                  <c:v>11.246</c:v>
                </c:pt>
                <c:pt idx="2">
                  <c:v>9.6280000000000001</c:v>
                </c:pt>
                <c:pt idx="3" formatCode="_-* #,##0_-;\-* #,##0_-;_-* &quot;-&quot;??_-;_-@_-">
                  <c:v>51.941026512642445</c:v>
                </c:pt>
              </c:numCache>
            </c:numRef>
          </c:val>
          <c:extLst>
            <c:ext xmlns:c16="http://schemas.microsoft.com/office/drawing/2014/chart" uri="{C3380CC4-5D6E-409C-BE32-E72D297353CC}">
              <c16:uniqueId val="{00000009-A298-4266-9626-2573C116D2AD}"/>
            </c:ext>
          </c:extLst>
        </c:ser>
        <c:ser>
          <c:idx val="2"/>
          <c:order val="2"/>
          <c:tx>
            <c:strRef>
              <c:f>Sheet1!$E$2</c:f>
              <c:strCache>
                <c:ptCount val="1"/>
                <c:pt idx="0">
                  <c:v>2030</c:v>
                </c:pt>
              </c:strCache>
            </c:strRef>
          </c:tx>
          <c:spPr>
            <a:solidFill>
              <a:schemeClr val="tx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B-A298-4266-9626-2573C116D2AD}"/>
              </c:ext>
            </c:extLst>
          </c:dPt>
          <c:dLbls>
            <c:dLbl>
              <c:idx val="3"/>
              <c:tx>
                <c:rich>
                  <a:bodyPr/>
                  <a:lstStyle/>
                  <a:p>
                    <a:r>
                      <a:rPr lang="en-US"/>
                      <a:t>96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2E10-41C8-9C54-90503541C43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B$6</c:f>
              <c:strCache>
                <c:ptCount val="4"/>
                <c:pt idx="0">
                  <c:v>Greece</c:v>
                </c:pt>
                <c:pt idx="1">
                  <c:v>Romania</c:v>
                </c:pt>
                <c:pt idx="2">
                  <c:v>Other non-EU Balkans</c:v>
                </c:pt>
                <c:pt idx="3">
                  <c:v>Europe</c:v>
                </c:pt>
              </c:strCache>
            </c:strRef>
          </c:cat>
          <c:val>
            <c:numRef>
              <c:f>Sheet1!$E$3:$E$6</c:f>
              <c:numCache>
                <c:formatCode>_-* #,##0.0_-;\-* #,##0.0_-;_-* "-"??_-;_-@_-</c:formatCode>
                <c:ptCount val="4"/>
                <c:pt idx="0">
                  <c:v>27.6</c:v>
                </c:pt>
                <c:pt idx="1">
                  <c:v>22.358000000000001</c:v>
                </c:pt>
                <c:pt idx="2">
                  <c:v>21.285</c:v>
                </c:pt>
                <c:pt idx="3" formatCode="_-* #,##0_-;\-* #,##0_-;_-* &quot;-&quot;??_-;_-@_-">
                  <c:v>67.055092993714766</c:v>
                </c:pt>
              </c:numCache>
            </c:numRef>
          </c:val>
          <c:extLst>
            <c:ext xmlns:c16="http://schemas.microsoft.com/office/drawing/2014/chart" uri="{C3380CC4-5D6E-409C-BE32-E72D297353CC}">
              <c16:uniqueId val="{0000000E-A298-4266-9626-2573C116D2AD}"/>
            </c:ext>
          </c:extLst>
        </c:ser>
        <c:dLbls>
          <c:showLegendKey val="0"/>
          <c:showVal val="0"/>
          <c:showCatName val="0"/>
          <c:showSerName val="0"/>
          <c:showPercent val="0"/>
          <c:showBubbleSize val="0"/>
        </c:dLbls>
        <c:gapWidth val="75"/>
        <c:overlap val="-10"/>
        <c:axId val="576416480"/>
        <c:axId val="742682800"/>
      </c:barChart>
      <c:catAx>
        <c:axId val="57641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 b="0" i="0" u="none" strike="noStrike" kern="1200" baseline="0">
                <a:solidFill>
                  <a:schemeClr val="bg1"/>
                </a:solidFill>
                <a:latin typeface="+mn-lt"/>
                <a:ea typeface="+mn-ea"/>
                <a:cs typeface="+mn-cs"/>
              </a:defRPr>
            </a:pPr>
            <a:endParaRPr lang="el-GR"/>
          </a:p>
        </c:txPr>
        <c:crossAx val="742682800"/>
        <c:crosses val="autoZero"/>
        <c:auto val="1"/>
        <c:lblAlgn val="ctr"/>
        <c:lblOffset val="100"/>
        <c:noMultiLvlLbl val="0"/>
      </c:catAx>
      <c:valAx>
        <c:axId val="742682800"/>
        <c:scaling>
          <c:orientation val="minMax"/>
          <c:max val="100"/>
        </c:scaling>
        <c:delete val="0"/>
        <c:axPos val="l"/>
        <c:numFmt formatCode="_-* #,##0.0_-;\-* #,##0.0_-;_-* &quot;-&quot;??_-;_-@_-"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rgbClr val="FFFFFF"/>
                </a:solidFill>
                <a:latin typeface="+mn-lt"/>
                <a:ea typeface="+mn-ea"/>
                <a:cs typeface="+mn-cs"/>
              </a:defRPr>
            </a:pPr>
            <a:endParaRPr lang="el-GR"/>
          </a:p>
        </c:txPr>
        <c:crossAx val="57641648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555812163202463"/>
          <c:y val="0.16852886405959031"/>
          <c:w val="0.5481139337952271"/>
          <c:h val="0.66294227188081933"/>
        </c:manualLayout>
      </c:layout>
      <c:doughnutChart>
        <c:varyColors val="0"/>
        <c:ser>
          <c:idx val="0"/>
          <c:order val="0"/>
          <c:dPt>
            <c:idx val="0"/>
            <c:bubble3D val="0"/>
            <c:spPr>
              <a:solidFill>
                <a:schemeClr val="accent3"/>
              </a:solidFill>
              <a:ln>
                <a:noFill/>
              </a:ln>
            </c:spPr>
            <c:extLst>
              <c:ext xmlns:c16="http://schemas.microsoft.com/office/drawing/2014/chart" uri="{C3380CC4-5D6E-409C-BE32-E72D297353CC}">
                <c16:uniqueId val="{00000000-5363-4B77-84BF-25E7D2C5CD86}"/>
              </c:ext>
            </c:extLst>
          </c:dPt>
          <c:dPt>
            <c:idx val="1"/>
            <c:bubble3D val="0"/>
            <c:spPr>
              <a:solidFill>
                <a:schemeClr val="accent4"/>
              </a:solidFill>
              <a:ln>
                <a:noFill/>
              </a:ln>
            </c:spPr>
            <c:extLst>
              <c:ext xmlns:c16="http://schemas.microsoft.com/office/drawing/2014/chart" uri="{C3380CC4-5D6E-409C-BE32-E72D297353CC}">
                <c16:uniqueId val="{00000001-5363-4B77-84BF-25E7D2C5CD86}"/>
              </c:ext>
            </c:extLst>
          </c:dPt>
          <c:dPt>
            <c:idx val="2"/>
            <c:bubble3D val="0"/>
            <c:spPr>
              <a:solidFill>
                <a:schemeClr val="accent5"/>
              </a:solidFill>
              <a:ln>
                <a:noFill/>
              </a:ln>
            </c:spPr>
            <c:extLst>
              <c:ext xmlns:c16="http://schemas.microsoft.com/office/drawing/2014/chart" uri="{C3380CC4-5D6E-409C-BE32-E72D297353CC}">
                <c16:uniqueId val="{00000002-5363-4B77-84BF-25E7D2C5CD86}"/>
              </c:ext>
            </c:extLst>
          </c:dPt>
          <c:dPt>
            <c:idx val="3"/>
            <c:bubble3D val="0"/>
            <c:spPr>
              <a:solidFill>
                <a:schemeClr val="bg2"/>
              </a:solidFill>
              <a:ln>
                <a:noFill/>
              </a:ln>
            </c:spPr>
            <c:extLst>
              <c:ext xmlns:c16="http://schemas.microsoft.com/office/drawing/2014/chart" uri="{C3380CC4-5D6E-409C-BE32-E72D297353CC}">
                <c16:uniqueId val="{00000003-5363-4B77-84BF-25E7D2C5CD86}"/>
              </c:ext>
            </c:extLst>
          </c:dPt>
          <c:dPt>
            <c:idx val="4"/>
            <c:bubble3D val="0"/>
            <c:spPr>
              <a:solidFill>
                <a:schemeClr val="accent2"/>
              </a:solidFill>
              <a:ln>
                <a:noFill/>
              </a:ln>
            </c:spPr>
            <c:extLst>
              <c:ext xmlns:c16="http://schemas.microsoft.com/office/drawing/2014/chart" uri="{C3380CC4-5D6E-409C-BE32-E72D297353CC}">
                <c16:uniqueId val="{00000004-5363-4B77-84BF-25E7D2C5CD86}"/>
              </c:ext>
            </c:extLst>
          </c:dPt>
          <c:dLbls>
            <c:dLbl>
              <c:idx val="1"/>
              <c:layout>
                <c:manualLayout>
                  <c:x val="-2.3094688221709007E-3"/>
                  <c:y val="1.5828677839851025E-2"/>
                </c:manualLayout>
              </c:layout>
              <c:numFmt formatCode="#,##0&quot;%&quot;;&quot;-&quot;#,##0&quot;%&quot;" sourceLinked="0"/>
              <c:spPr>
                <a:noFill/>
                <a:ln>
                  <a:noFill/>
                </a:ln>
              </c:spPr>
              <c:txPr>
                <a:bodyPr wrap="none"/>
                <a:lstStyle/>
                <a:p>
                  <a:pPr>
                    <a:defRPr sz="900" b="1" kern="1200">
                      <a:solidFill>
                        <a:srgbClr val="FFFFFF"/>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63-4B77-84BF-25E7D2C5CD86}"/>
                </c:ext>
              </c:extLst>
            </c:dLbl>
            <c:dLbl>
              <c:idx val="3"/>
              <c:layout>
                <c:manualLayout>
                  <c:x val="0"/>
                  <c:y val="0"/>
                </c:manualLayout>
              </c:layout>
              <c:numFmt formatCode="#,##0&quot;%&quot;;&quot;-&quot;#,##0&quot;%&quot;" sourceLinked="0"/>
              <c:spPr>
                <a:noFill/>
                <a:ln>
                  <a:noFill/>
                </a:ln>
              </c:spPr>
              <c:txPr>
                <a:bodyPr wrap="none"/>
                <a:lstStyle/>
                <a:p>
                  <a:pPr>
                    <a:defRPr sz="900" b="1" kern="1200">
                      <a:solidFill>
                        <a:srgbClr val="373737"/>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63-4B77-84BF-25E7D2C5CD86}"/>
                </c:ext>
              </c:extLst>
            </c:dLbl>
            <c:dLbl>
              <c:idx val="4"/>
              <c:layout>
                <c:manualLayout>
                  <c:x val="-1.539645881447267E-3"/>
                  <c:y val="-3.7243947858472998E-3"/>
                </c:manualLayout>
              </c:layout>
              <c:numFmt formatCode="#,##0&quot;%&quot;;&quot;-&quot;#,##0&quot;%&quot;" sourceLinked="0"/>
              <c:spPr>
                <a:noFill/>
                <a:ln>
                  <a:noFill/>
                </a:ln>
              </c:spPr>
              <c:txPr>
                <a:bodyPr wrap="none"/>
                <a:lstStyle/>
                <a:p>
                  <a:pPr>
                    <a:defRPr sz="900" b="1" kern="1200">
                      <a:solidFill>
                        <a:srgbClr val="FFFFFF"/>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63-4B77-84BF-25E7D2C5CD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49</c:v>
                </c:pt>
                <c:pt idx="1">
                  <c:v>7.0000000000000009</c:v>
                </c:pt>
                <c:pt idx="2">
                  <c:v>26</c:v>
                </c:pt>
                <c:pt idx="3">
                  <c:v>8</c:v>
                </c:pt>
                <c:pt idx="4">
                  <c:v>10</c:v>
                </c:pt>
              </c:numCache>
            </c:numRef>
          </c:val>
          <c:extLst>
            <c:ext xmlns:c16="http://schemas.microsoft.com/office/drawing/2014/chart" uri="{C3380CC4-5D6E-409C-BE32-E72D297353CC}">
              <c16:uniqueId val="{00000005-5363-4B77-84BF-25E7D2C5CD86}"/>
            </c:ext>
          </c:extLst>
        </c:ser>
        <c:dLbls>
          <c:showLegendKey val="0"/>
          <c:showVal val="0"/>
          <c:showCatName val="0"/>
          <c:showSerName val="0"/>
          <c:showPercent val="0"/>
          <c:showBubbleSize val="0"/>
          <c:showLeaderLines val="1"/>
        </c:dLbls>
        <c:firstSliceAng val="0"/>
        <c:holeSize val="55"/>
      </c:doughnut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979985174203113"/>
          <c:y val="0.16651333946642136"/>
          <c:w val="0.53743513713862123"/>
          <c:h val="0.66697332106715734"/>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C61C-433C-98AA-0159875E2E48}"/>
              </c:ext>
            </c:extLst>
          </c:dPt>
          <c:dPt>
            <c:idx val="1"/>
            <c:bubble3D val="0"/>
            <c:spPr>
              <a:solidFill>
                <a:schemeClr val="accent6"/>
              </a:solidFill>
              <a:ln>
                <a:noFill/>
              </a:ln>
            </c:spPr>
            <c:extLst>
              <c:ext xmlns:c16="http://schemas.microsoft.com/office/drawing/2014/chart" uri="{C3380CC4-5D6E-409C-BE32-E72D297353CC}">
                <c16:uniqueId val="{00000001-C61C-433C-98AA-0159875E2E48}"/>
              </c:ext>
            </c:extLst>
          </c:dPt>
          <c:dPt>
            <c:idx val="2"/>
            <c:bubble3D val="0"/>
            <c:spPr>
              <a:solidFill>
                <a:schemeClr val="bg2"/>
              </a:solidFill>
              <a:ln>
                <a:noFill/>
              </a:ln>
            </c:spPr>
            <c:extLst>
              <c:ext xmlns:c16="http://schemas.microsoft.com/office/drawing/2014/chart" uri="{C3380CC4-5D6E-409C-BE32-E72D297353CC}">
                <c16:uniqueId val="{00000002-C61C-433C-98AA-0159875E2E48}"/>
              </c:ext>
            </c:extLst>
          </c:dPt>
          <c:dLbls>
            <c:dLbl>
              <c:idx val="0"/>
              <c:layout>
                <c:manualLayout>
                  <c:x val="-2.9651593773165306E-3"/>
                  <c:y val="9.1996320147194111E-4"/>
                </c:manualLayout>
              </c:layout>
              <c:numFmt formatCode="#,##0&quot;%&quot;;&quot;-&quot;#,##0&quot;%&quot;" sourceLinked="0"/>
              <c:spPr>
                <a:noFill/>
                <a:ln>
                  <a:noFill/>
                </a:ln>
              </c:spPr>
              <c:txPr>
                <a:bodyPr wrap="none"/>
                <a:lstStyle/>
                <a:p>
                  <a:pPr>
                    <a:defRPr sz="900" b="1" kern="1200">
                      <a:solidFill>
                        <a:schemeClr val="bg1"/>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1C-433C-98AA-0159875E2E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1.74</c:v>
                </c:pt>
                <c:pt idx="1">
                  <c:v>53.52</c:v>
                </c:pt>
                <c:pt idx="2">
                  <c:v>4.7300000000000004</c:v>
                </c:pt>
              </c:numCache>
            </c:numRef>
          </c:val>
          <c:extLst>
            <c:ext xmlns:c16="http://schemas.microsoft.com/office/drawing/2014/chart" uri="{C3380CC4-5D6E-409C-BE32-E72D297353CC}">
              <c16:uniqueId val="{00000003-C61C-433C-98AA-0159875E2E48}"/>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57301704966642"/>
          <c:y val="0.16852886405959031"/>
          <c:w val="0.52779836916234246"/>
          <c:h val="0.66294227188081933"/>
        </c:manualLayout>
      </c:layout>
      <c:doughnutChart>
        <c:varyColors val="0"/>
        <c:ser>
          <c:idx val="0"/>
          <c:order val="0"/>
          <c:dPt>
            <c:idx val="0"/>
            <c:bubble3D val="0"/>
            <c:spPr>
              <a:solidFill>
                <a:schemeClr val="accent2"/>
              </a:solidFill>
              <a:ln>
                <a:noFill/>
              </a:ln>
            </c:spPr>
            <c:extLst>
              <c:ext xmlns:c16="http://schemas.microsoft.com/office/drawing/2014/chart" uri="{C3380CC4-5D6E-409C-BE32-E72D297353CC}">
                <c16:uniqueId val="{00000000-06DC-4F81-A797-849A532BA10C}"/>
              </c:ext>
            </c:extLst>
          </c:dPt>
          <c:dPt>
            <c:idx val="1"/>
            <c:bubble3D val="0"/>
            <c:spPr>
              <a:solidFill>
                <a:schemeClr val="accent5"/>
              </a:solidFill>
              <a:ln>
                <a:noFill/>
              </a:ln>
            </c:spPr>
            <c:extLst>
              <c:ext xmlns:c16="http://schemas.microsoft.com/office/drawing/2014/chart" uri="{C3380CC4-5D6E-409C-BE32-E72D297353CC}">
                <c16:uniqueId val="{00000001-06DC-4F81-A797-849A532BA10C}"/>
              </c:ext>
            </c:extLst>
          </c:dPt>
          <c:dPt>
            <c:idx val="2"/>
            <c:bubble3D val="0"/>
            <c:spPr>
              <a:solidFill>
                <a:schemeClr val="accent6"/>
              </a:solidFill>
              <a:ln>
                <a:noFill/>
              </a:ln>
            </c:spPr>
            <c:extLst>
              <c:ext xmlns:c16="http://schemas.microsoft.com/office/drawing/2014/chart" uri="{C3380CC4-5D6E-409C-BE32-E72D297353CC}">
                <c16:uniqueId val="{00000002-06DC-4F81-A797-849A532BA10C}"/>
              </c:ext>
            </c:extLst>
          </c:dPt>
          <c:dLbls>
            <c:dLbl>
              <c:idx val="2"/>
              <c:layout>
                <c:manualLayout>
                  <c:x val="4.447739065974796E-3"/>
                  <c:y val="7.4487895716945996E-3"/>
                </c:manualLayout>
              </c:layout>
              <c:numFmt formatCode="#,##0&quot;%&quot;;&quot;-&quot;#,##0&quot;%&quot;" sourceLinked="0"/>
              <c:spPr>
                <a:noFill/>
                <a:ln>
                  <a:noFill/>
                </a:ln>
              </c:spPr>
              <c:txPr>
                <a:bodyPr wrap="none"/>
                <a:lstStyle/>
                <a:p>
                  <a:pPr>
                    <a:defRPr sz="900" b="1" kern="1200">
                      <a:solidFill>
                        <a:srgbClr val="373737"/>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6DC-4F81-A797-849A532BA1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6</c:v>
                </c:pt>
                <c:pt idx="1">
                  <c:v>4</c:v>
                </c:pt>
                <c:pt idx="2">
                  <c:v>20</c:v>
                </c:pt>
              </c:numCache>
            </c:numRef>
          </c:val>
          <c:extLst>
            <c:ext xmlns:c16="http://schemas.microsoft.com/office/drawing/2014/chart" uri="{C3380CC4-5D6E-409C-BE32-E72D297353CC}">
              <c16:uniqueId val="{00000003-06DC-4F81-A797-849A532BA10C}"/>
            </c:ext>
          </c:extLst>
        </c:ser>
        <c:dLbls>
          <c:showLegendKey val="0"/>
          <c:showVal val="0"/>
          <c:showCatName val="0"/>
          <c:showSerName val="0"/>
          <c:showPercent val="0"/>
          <c:showBubbleSize val="0"/>
          <c:showLeaderLines val="1"/>
        </c:dLbls>
        <c:firstSliceAng val="0"/>
        <c:holeSize val="55"/>
      </c:doughnut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45062775704105E-2"/>
          <c:y val="6.8790397045244686E-2"/>
          <c:w val="0.9647098744485918"/>
          <c:h val="0.8624192059095106"/>
        </c:manualLayout>
      </c:layout>
      <c:barChart>
        <c:barDir val="col"/>
        <c:grouping val="stacked"/>
        <c:varyColors val="0"/>
        <c:ser>
          <c:idx val="0"/>
          <c:order val="0"/>
          <c:spPr>
            <a:no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0-6370-48FB-B2CD-3794E046108C}"/>
              </c:ext>
            </c:extLst>
          </c:dPt>
          <c:dPt>
            <c:idx val="4"/>
            <c:invertIfNegative val="0"/>
            <c:bubble3D val="0"/>
            <c:spPr>
              <a:solidFill>
                <a:schemeClr val="accent1"/>
              </a:solidFill>
              <a:ln>
                <a:noFill/>
              </a:ln>
            </c:spPr>
            <c:extLst>
              <c:ext xmlns:c16="http://schemas.microsoft.com/office/drawing/2014/chart" uri="{C3380CC4-5D6E-409C-BE32-E72D297353CC}">
                <c16:uniqueId val="{00000001-6370-48FB-B2CD-3794E046108C}"/>
              </c:ext>
            </c:extLst>
          </c:dPt>
          <c:val>
            <c:numRef>
              <c:f>Sheet1!$A$1:$F$1</c:f>
              <c:numCache>
                <c:formatCode>General</c:formatCode>
                <c:ptCount val="6"/>
                <c:pt idx="0">
                  <c:v>395.06</c:v>
                </c:pt>
                <c:pt idx="1">
                  <c:v>494.26</c:v>
                </c:pt>
                <c:pt idx="2">
                  <c:v>805.45</c:v>
                </c:pt>
                <c:pt idx="3">
                  <c:v>1005.45</c:v>
                </c:pt>
                <c:pt idx="4">
                  <c:v>1055.45</c:v>
                </c:pt>
                <c:pt idx="5">
                  <c:v>1055.45</c:v>
                </c:pt>
              </c:numCache>
            </c:numRef>
          </c:val>
          <c:extLst>
            <c:ext xmlns:c16="http://schemas.microsoft.com/office/drawing/2014/chart" uri="{C3380CC4-5D6E-409C-BE32-E72D297353CC}">
              <c16:uniqueId val="{00000002-6370-48FB-B2CD-3794E046108C}"/>
            </c:ext>
          </c:extLst>
        </c:ser>
        <c:ser>
          <c:idx val="1"/>
          <c:order val="1"/>
          <c:spPr>
            <a:solidFill>
              <a:schemeClr val="accent5"/>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3-6370-48FB-B2CD-3794E046108C}"/>
              </c:ext>
            </c:extLst>
          </c:dPt>
          <c:dPt>
            <c:idx val="2"/>
            <c:invertIfNegative val="0"/>
            <c:bubble3D val="0"/>
            <c:spPr>
              <a:solidFill>
                <a:schemeClr val="accent3"/>
              </a:solidFill>
              <a:ln>
                <a:noFill/>
              </a:ln>
            </c:spPr>
            <c:extLst>
              <c:ext xmlns:c16="http://schemas.microsoft.com/office/drawing/2014/chart" uri="{C3380CC4-5D6E-409C-BE32-E72D297353CC}">
                <c16:uniqueId val="{00000004-6370-48FB-B2CD-3794E046108C}"/>
              </c:ext>
            </c:extLst>
          </c:dPt>
          <c:dPt>
            <c:idx val="5"/>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5-6370-48FB-B2CD-3794E046108C}"/>
              </c:ext>
            </c:extLst>
          </c:dPt>
          <c:dLbls>
            <c:dLbl>
              <c:idx val="2"/>
              <c:layout>
                <c:manualLayout>
                  <c:x val="0"/>
                  <c:y val="-4.6168051708217916E-2"/>
                </c:manualLayout>
              </c:layout>
              <c:numFmt formatCode="#,##0;&quot;-&quot;#,##0" sourceLinked="0"/>
              <c:spPr>
                <a:noFill/>
                <a:ln>
                  <a:noFill/>
                </a:ln>
              </c:spPr>
              <c:txPr>
                <a:bodyPr wrap="none"/>
                <a:lstStyle/>
                <a:p>
                  <a:pPr>
                    <a:defRPr sz="1050" b="1" kern="1200">
                      <a:solidFill>
                        <a:srgbClr val="373737"/>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70-48FB-B2CD-3794E046108C}"/>
                </c:ext>
              </c:extLst>
            </c:dLbl>
            <c:dLbl>
              <c:idx val="3"/>
              <c:layout>
                <c:manualLayout>
                  <c:x val="0"/>
                  <c:y val="-3.4626038781163437E-2"/>
                </c:manualLayout>
              </c:layout>
              <c:numFmt formatCode="#,##0;&quot;-&quot;#,##0" sourceLinked="0"/>
              <c:spPr>
                <a:noFill/>
                <a:ln>
                  <a:noFill/>
                </a:ln>
              </c:spPr>
              <c:txPr>
                <a:bodyPr wrap="none"/>
                <a:lstStyle/>
                <a:p>
                  <a:pPr>
                    <a:defRPr sz="1050" b="1" kern="1200">
                      <a:solidFill>
                        <a:srgbClr val="373737"/>
                      </a:solidFill>
                      <a:latin typeface="+mn-lt"/>
                      <a:ea typeface="+mn-ea"/>
                      <a:cs typeface="+mn-cs"/>
                    </a:defRPr>
                  </a:pPr>
                  <a:endParaRPr lang="el-G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70-48FB-B2CD-3794E04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99.199999999999989</c:v>
                </c:pt>
                <c:pt idx="1">
                  <c:v>100</c:v>
                </c:pt>
                <c:pt idx="2">
                  <c:v>200</c:v>
                </c:pt>
                <c:pt idx="3">
                  <c:v>50</c:v>
                </c:pt>
                <c:pt idx="5">
                  <c:v>4600</c:v>
                </c:pt>
              </c:numCache>
            </c:numRef>
          </c:val>
          <c:extLst>
            <c:ext xmlns:c16="http://schemas.microsoft.com/office/drawing/2014/chart" uri="{C3380CC4-5D6E-409C-BE32-E72D297353CC}">
              <c16:uniqueId val="{00000007-6370-48FB-B2CD-3794E046108C}"/>
            </c:ext>
          </c:extLst>
        </c:ser>
        <c:ser>
          <c:idx val="2"/>
          <c:order val="2"/>
          <c:spPr>
            <a:solidFill>
              <a:schemeClr val="accent3"/>
            </a:solidFill>
            <a:ln>
              <a:noFill/>
            </a:ln>
          </c:spPr>
          <c:invertIfNegative val="0"/>
          <c:val>
            <c:numRef>
              <c:f>Sheet1!$A$3:$F$3</c:f>
              <c:numCache>
                <c:formatCode>General</c:formatCode>
                <c:ptCount val="6"/>
                <c:pt idx="1">
                  <c:v>211.19000000000005</c:v>
                </c:pt>
              </c:numCache>
            </c:numRef>
          </c:val>
          <c:extLst>
            <c:ext xmlns:c16="http://schemas.microsoft.com/office/drawing/2014/chart" uri="{C3380CC4-5D6E-409C-BE32-E72D297353CC}">
              <c16:uniqueId val="{00000008-6370-48FB-B2CD-3794E046108C}"/>
            </c:ext>
          </c:extLst>
        </c:ser>
        <c:dLbls>
          <c:showLegendKey val="0"/>
          <c:showVal val="0"/>
          <c:showCatName val="0"/>
          <c:showSerName val="0"/>
          <c:showPercent val="0"/>
          <c:showBubbleSize val="0"/>
        </c:dLbls>
        <c:gapWidth val="80"/>
        <c:overlap val="100"/>
        <c:axId val="347478408"/>
        <c:axId val="1"/>
      </c:barChart>
      <c:catAx>
        <c:axId val="347478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655.45"/>
          <c:min val="0"/>
        </c:scaling>
        <c:delete val="1"/>
        <c:axPos val="l"/>
        <c:numFmt formatCode="General" sourceLinked="1"/>
        <c:majorTickMark val="out"/>
        <c:minorTickMark val="none"/>
        <c:tickLblPos val="nextTo"/>
        <c:crossAx val="347478408"/>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47079037800689E-2"/>
          <c:y val="4.6553267681289166E-2"/>
          <c:w val="0.82130584192439859"/>
          <c:h val="0.90689346463742171"/>
        </c:manualLayout>
      </c:layout>
      <c:barChart>
        <c:barDir val="col"/>
        <c:grouping val="stacked"/>
        <c:varyColors val="0"/>
        <c:ser>
          <c:idx val="0"/>
          <c:order val="0"/>
          <c:spPr>
            <a:solidFill>
              <a:schemeClr val="accent1"/>
            </a:solidFill>
            <a:ln>
              <a:noFill/>
            </a:ln>
          </c:spPr>
          <c:invertIfNegative val="0"/>
          <c:val>
            <c:numRef>
              <c:f>Sheet1!$A$1</c:f>
              <c:numCache>
                <c:formatCode>General</c:formatCode>
                <c:ptCount val="1"/>
                <c:pt idx="0">
                  <c:v>2000</c:v>
                </c:pt>
              </c:numCache>
            </c:numRef>
          </c:val>
          <c:extLst>
            <c:ext xmlns:c16="http://schemas.microsoft.com/office/drawing/2014/chart" uri="{C3380CC4-5D6E-409C-BE32-E72D297353CC}">
              <c16:uniqueId val="{00000000-DC30-4B8A-9F67-784219004DE7}"/>
            </c:ext>
          </c:extLst>
        </c:ser>
        <c:dLbls>
          <c:showLegendKey val="0"/>
          <c:showVal val="0"/>
          <c:showCatName val="0"/>
          <c:showSerName val="0"/>
          <c:showPercent val="0"/>
          <c:showBubbleSize val="0"/>
        </c:dLbls>
        <c:gapWidth val="80"/>
        <c:overlap val="100"/>
        <c:axId val="1580773743"/>
        <c:axId val="1"/>
      </c:barChart>
      <c:catAx>
        <c:axId val="15807737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
          <c:min val="0"/>
        </c:scaling>
        <c:delete val="1"/>
        <c:axPos val="l"/>
        <c:numFmt formatCode="General" sourceLinked="1"/>
        <c:majorTickMark val="out"/>
        <c:minorTickMark val="none"/>
        <c:tickLblPos val="nextTo"/>
        <c:crossAx val="15807737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El production updated'!$A$13</c:f>
              <c:strCache>
                <c:ptCount val="1"/>
                <c:pt idx="0">
                  <c:v>Λιγνίτης</c:v>
                </c:pt>
              </c:strCache>
            </c:strRef>
          </c:tx>
          <c:spPr>
            <a:solidFill>
              <a:schemeClr val="accent1"/>
            </a:solidFill>
            <a:ln>
              <a:noFill/>
            </a:ln>
            <a:effectLst/>
          </c:spPr>
          <c:invertIfNegative val="0"/>
          <c:val>
            <c:numRef>
              <c:f>'El production updated'!$H$13</c:f>
              <c:numCache>
                <c:formatCode>General</c:formatCode>
                <c:ptCount val="1"/>
                <c:pt idx="0">
                  <c:v>0</c:v>
                </c:pt>
              </c:numCache>
            </c:numRef>
          </c:val>
          <c:extLst>
            <c:ext xmlns:c16="http://schemas.microsoft.com/office/drawing/2014/chart" uri="{C3380CC4-5D6E-409C-BE32-E72D297353CC}">
              <c16:uniqueId val="{00000000-211D-42B2-8AAE-276602A6DBC4}"/>
            </c:ext>
          </c:extLst>
        </c:ser>
        <c:ser>
          <c:idx val="1"/>
          <c:order val="1"/>
          <c:tx>
            <c:strRef>
              <c:f>'El production updated'!$A$14</c:f>
              <c:strCache>
                <c:ptCount val="1"/>
                <c:pt idx="0">
                  <c:v>Φυσικό αέριο</c:v>
                </c:pt>
              </c:strCache>
            </c:strRef>
          </c:tx>
          <c:spPr>
            <a:solidFill>
              <a:schemeClr val="accent2"/>
            </a:solidFill>
            <a:ln>
              <a:noFill/>
            </a:ln>
            <a:effectLst/>
          </c:spPr>
          <c:invertIfNegative val="0"/>
          <c:val>
            <c:numRef>
              <c:f>'El production updated'!$H$14</c:f>
              <c:numCache>
                <c:formatCode>General</c:formatCode>
                <c:ptCount val="1"/>
                <c:pt idx="0">
                  <c:v>5.9</c:v>
                </c:pt>
              </c:numCache>
            </c:numRef>
          </c:val>
          <c:extLst>
            <c:ext xmlns:c16="http://schemas.microsoft.com/office/drawing/2014/chart" uri="{C3380CC4-5D6E-409C-BE32-E72D297353CC}">
              <c16:uniqueId val="{00000001-211D-42B2-8AAE-276602A6DBC4}"/>
            </c:ext>
          </c:extLst>
        </c:ser>
        <c:ser>
          <c:idx val="2"/>
          <c:order val="2"/>
          <c:tx>
            <c:strRef>
              <c:f>'El production updated'!$A$15</c:f>
              <c:strCache>
                <c:ptCount val="1"/>
                <c:pt idx="0">
                  <c:v>Πετρέλαιο</c:v>
                </c:pt>
              </c:strCache>
            </c:strRef>
          </c:tx>
          <c:spPr>
            <a:solidFill>
              <a:schemeClr val="accent3"/>
            </a:solidFill>
            <a:ln>
              <a:noFill/>
            </a:ln>
            <a:effectLst/>
          </c:spPr>
          <c:invertIfNegative val="0"/>
          <c:val>
            <c:numRef>
              <c:f>'El production updated'!$H$15</c:f>
              <c:numCache>
                <c:formatCode>General</c:formatCode>
                <c:ptCount val="1"/>
                <c:pt idx="0">
                  <c:v>0.1</c:v>
                </c:pt>
              </c:numCache>
            </c:numRef>
          </c:val>
          <c:extLst>
            <c:ext xmlns:c16="http://schemas.microsoft.com/office/drawing/2014/chart" uri="{C3380CC4-5D6E-409C-BE32-E72D297353CC}">
              <c16:uniqueId val="{00000002-211D-42B2-8AAE-276602A6DBC4}"/>
            </c:ext>
          </c:extLst>
        </c:ser>
        <c:ser>
          <c:idx val="3"/>
          <c:order val="3"/>
          <c:tx>
            <c:strRef>
              <c:f>'El production updated'!$A$16</c:f>
              <c:strCache>
                <c:ptCount val="1"/>
                <c:pt idx="0">
                  <c:v>Βιομάζα &amp; Βιοαέριο</c:v>
                </c:pt>
              </c:strCache>
            </c:strRef>
          </c:tx>
          <c:spPr>
            <a:solidFill>
              <a:schemeClr val="accent4"/>
            </a:solidFill>
            <a:ln>
              <a:noFill/>
            </a:ln>
            <a:effectLst/>
          </c:spPr>
          <c:invertIfNegative val="0"/>
          <c:val>
            <c:numRef>
              <c:f>'El production updated'!$H$16</c:f>
              <c:numCache>
                <c:formatCode>General</c:formatCode>
                <c:ptCount val="1"/>
                <c:pt idx="0">
                  <c:v>0</c:v>
                </c:pt>
              </c:numCache>
            </c:numRef>
          </c:val>
          <c:extLst>
            <c:ext xmlns:c16="http://schemas.microsoft.com/office/drawing/2014/chart" uri="{C3380CC4-5D6E-409C-BE32-E72D297353CC}">
              <c16:uniqueId val="{00000003-211D-42B2-8AAE-276602A6DBC4}"/>
            </c:ext>
          </c:extLst>
        </c:ser>
        <c:ser>
          <c:idx val="4"/>
          <c:order val="4"/>
          <c:tx>
            <c:strRef>
              <c:f>'El production updated'!$A$17</c:f>
              <c:strCache>
                <c:ptCount val="1"/>
                <c:pt idx="0">
                  <c:v>Φωτοβολταϊκά</c:v>
                </c:pt>
              </c:strCache>
            </c:strRef>
          </c:tx>
          <c:spPr>
            <a:solidFill>
              <a:schemeClr val="accent5"/>
            </a:solidFill>
            <a:ln>
              <a:noFill/>
            </a:ln>
            <a:effectLst/>
          </c:spPr>
          <c:invertIfNegative val="0"/>
          <c:val>
            <c:numRef>
              <c:f>'El production updated'!$H$17</c:f>
              <c:numCache>
                <c:formatCode>General</c:formatCode>
                <c:ptCount val="1"/>
                <c:pt idx="0">
                  <c:v>35.1</c:v>
                </c:pt>
              </c:numCache>
            </c:numRef>
          </c:val>
          <c:extLst>
            <c:ext xmlns:c16="http://schemas.microsoft.com/office/drawing/2014/chart" uri="{C3380CC4-5D6E-409C-BE32-E72D297353CC}">
              <c16:uniqueId val="{00000004-211D-42B2-8AAE-276602A6DBC4}"/>
            </c:ext>
          </c:extLst>
        </c:ser>
        <c:ser>
          <c:idx val="5"/>
          <c:order val="5"/>
          <c:tx>
            <c:strRef>
              <c:f>'El production updated'!$A$18</c:f>
              <c:strCache>
                <c:ptCount val="1"/>
                <c:pt idx="0">
                  <c:v>Αιολικά χερσαία</c:v>
                </c:pt>
              </c:strCache>
            </c:strRef>
          </c:tx>
          <c:spPr>
            <a:solidFill>
              <a:schemeClr val="accent6"/>
            </a:solidFill>
            <a:ln>
              <a:noFill/>
            </a:ln>
            <a:effectLst/>
          </c:spPr>
          <c:invertIfNegative val="0"/>
          <c:val>
            <c:numRef>
              <c:f>'El production updated'!$H$18</c:f>
              <c:numCache>
                <c:formatCode>General</c:formatCode>
                <c:ptCount val="1"/>
                <c:pt idx="0">
                  <c:v>13</c:v>
                </c:pt>
              </c:numCache>
            </c:numRef>
          </c:val>
          <c:extLst>
            <c:ext xmlns:c16="http://schemas.microsoft.com/office/drawing/2014/chart" uri="{C3380CC4-5D6E-409C-BE32-E72D297353CC}">
              <c16:uniqueId val="{00000005-211D-42B2-8AAE-276602A6DBC4}"/>
            </c:ext>
          </c:extLst>
        </c:ser>
        <c:ser>
          <c:idx val="6"/>
          <c:order val="6"/>
          <c:tx>
            <c:strRef>
              <c:f>'El production updated'!$A$19</c:f>
              <c:strCache>
                <c:ptCount val="1"/>
                <c:pt idx="0">
                  <c:v>Αιολικά υπεράκτια</c:v>
                </c:pt>
              </c:strCache>
            </c:strRef>
          </c:tx>
          <c:spPr>
            <a:solidFill>
              <a:schemeClr val="accent1">
                <a:lumMod val="60000"/>
              </a:schemeClr>
            </a:solidFill>
            <a:ln>
              <a:noFill/>
            </a:ln>
            <a:effectLst/>
          </c:spPr>
          <c:invertIfNegative val="0"/>
          <c:val>
            <c:numRef>
              <c:f>'El production updated'!$H$19</c:f>
              <c:numCache>
                <c:formatCode>General</c:formatCode>
                <c:ptCount val="1"/>
                <c:pt idx="0">
                  <c:v>11.8</c:v>
                </c:pt>
              </c:numCache>
            </c:numRef>
          </c:val>
          <c:extLst>
            <c:ext xmlns:c16="http://schemas.microsoft.com/office/drawing/2014/chart" uri="{C3380CC4-5D6E-409C-BE32-E72D297353CC}">
              <c16:uniqueId val="{00000006-211D-42B2-8AAE-276602A6DBC4}"/>
            </c:ext>
          </c:extLst>
        </c:ser>
        <c:ser>
          <c:idx val="7"/>
          <c:order val="7"/>
          <c:tx>
            <c:strRef>
              <c:f>'El production updated'!$A$20</c:f>
              <c:strCache>
                <c:ptCount val="1"/>
                <c:pt idx="0">
                  <c:v>Υδροηλεκτρικά</c:v>
                </c:pt>
              </c:strCache>
            </c:strRef>
          </c:tx>
          <c:spPr>
            <a:solidFill>
              <a:schemeClr val="accent2">
                <a:lumMod val="60000"/>
              </a:schemeClr>
            </a:solidFill>
            <a:ln>
              <a:noFill/>
            </a:ln>
            <a:effectLst/>
          </c:spPr>
          <c:invertIfNegative val="0"/>
          <c:val>
            <c:numRef>
              <c:f>'El production updated'!$H$20</c:f>
              <c:numCache>
                <c:formatCode>General</c:formatCode>
                <c:ptCount val="1"/>
                <c:pt idx="0">
                  <c:v>4.5</c:v>
                </c:pt>
              </c:numCache>
            </c:numRef>
          </c:val>
          <c:extLst>
            <c:ext xmlns:c16="http://schemas.microsoft.com/office/drawing/2014/chart" uri="{C3380CC4-5D6E-409C-BE32-E72D297353CC}">
              <c16:uniqueId val="{00000007-211D-42B2-8AAE-276602A6DBC4}"/>
            </c:ext>
          </c:extLst>
        </c:ser>
        <c:dLbls>
          <c:showLegendKey val="0"/>
          <c:showVal val="0"/>
          <c:showCatName val="0"/>
          <c:showSerName val="0"/>
          <c:showPercent val="0"/>
          <c:showBubbleSize val="0"/>
        </c:dLbls>
        <c:gapWidth val="150"/>
        <c:overlap val="100"/>
        <c:axId val="89682416"/>
        <c:axId val="89675696"/>
      </c:barChart>
      <c:catAx>
        <c:axId val="89682416"/>
        <c:scaling>
          <c:orientation val="minMax"/>
        </c:scaling>
        <c:delete val="1"/>
        <c:axPos val="l"/>
        <c:numFmt formatCode="General" sourceLinked="1"/>
        <c:majorTickMark val="none"/>
        <c:minorTickMark val="none"/>
        <c:tickLblPos val="nextTo"/>
        <c:crossAx val="89675696"/>
        <c:crosses val="autoZero"/>
        <c:auto val="1"/>
        <c:lblAlgn val="ctr"/>
        <c:lblOffset val="100"/>
        <c:noMultiLvlLbl val="0"/>
      </c:catAx>
      <c:valAx>
        <c:axId val="89675696"/>
        <c:scaling>
          <c:orientation val="minMax"/>
        </c:scaling>
        <c:delete val="0"/>
        <c:axPos val="b"/>
        <c:numFmt formatCode="0%" sourceLinked="1"/>
        <c:majorTickMark val="none"/>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68241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mn-cs"/>
              </a:defRPr>
            </a:pPr>
            <a:r>
              <a:rPr lang="el-GR" sz="1000" b="0" i="0" u="none" strike="noStrike" baseline="0"/>
              <a:t>Μερίδιο ΑΠΕ στην ηλεκτροπαραγωγή</a:t>
            </a:r>
            <a:endParaRPr lang="en-US" sz="1000">
              <a:latin typeface="Verdana" panose="020B0604030504040204" pitchFamily="34" charset="0"/>
              <a:ea typeface="Verdana" panose="020B0604030504040204" pitchFamily="34" charset="0"/>
            </a:endParaRP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title>
    <c:autoTitleDeleted val="0"/>
    <c:plotArea>
      <c:layout/>
      <c:lineChart>
        <c:grouping val="standard"/>
        <c:varyColors val="0"/>
        <c:ser>
          <c:idx val="0"/>
          <c:order val="0"/>
          <c:tx>
            <c:strRef>
              <c:f>'NECP Tracker'!$M$13</c:f>
              <c:strCache>
                <c:ptCount val="1"/>
                <c:pt idx="0">
                  <c:v>Share 2024</c:v>
                </c:pt>
              </c:strCache>
            </c:strRef>
          </c:tx>
          <c:spPr>
            <a:ln w="12700" cap="rnd">
              <a:solidFill>
                <a:srgbClr val="0D8390"/>
              </a:solidFill>
              <a:round/>
            </a:ln>
            <a:effectLst/>
          </c:spPr>
          <c:marker>
            <c:symbol val="square"/>
            <c:size val="5"/>
            <c:spPr>
              <a:solidFill>
                <a:srgbClr val="0D8390"/>
              </a:solidFill>
              <a:ln w="12700">
                <a:solidFill>
                  <a:srgbClr val="0D8390"/>
                </a:solidFill>
              </a:ln>
              <a:effectLst/>
            </c:spPr>
          </c:marker>
          <c:cat>
            <c:numRef>
              <c:f>'NECP Tracker'!$N$12:$V$12</c:f>
              <c:numCache>
                <c:formatCode>General</c:formatCode>
                <c:ptCount val="9"/>
                <c:pt idx="0">
                  <c:v>2020</c:v>
                </c:pt>
                <c:pt idx="1">
                  <c:v>2022</c:v>
                </c:pt>
                <c:pt idx="2">
                  <c:v>2025</c:v>
                </c:pt>
                <c:pt idx="3">
                  <c:v>2027</c:v>
                </c:pt>
                <c:pt idx="4">
                  <c:v>2030</c:v>
                </c:pt>
                <c:pt idx="5">
                  <c:v>2035</c:v>
                </c:pt>
                <c:pt idx="6">
                  <c:v>2040</c:v>
                </c:pt>
                <c:pt idx="7">
                  <c:v>2045</c:v>
                </c:pt>
                <c:pt idx="8">
                  <c:v>2050</c:v>
                </c:pt>
              </c:numCache>
            </c:numRef>
          </c:cat>
          <c:val>
            <c:numRef>
              <c:f>'NECP Tracker'!$N$13:$V$13</c:f>
              <c:numCache>
                <c:formatCode>General</c:formatCode>
                <c:ptCount val="9"/>
                <c:pt idx="2" formatCode="0.0%">
                  <c:v>0.64749536178107603</c:v>
                </c:pt>
                <c:pt idx="3" formatCode="0.0%">
                  <c:v>0.72689337625477646</c:v>
                </c:pt>
                <c:pt idx="4" formatCode="0.0%">
                  <c:v>0.80629139072847689</c:v>
                </c:pt>
                <c:pt idx="5" formatCode="0.0%">
                  <c:v>0.93908629441624369</c:v>
                </c:pt>
                <c:pt idx="6" formatCode="0.0%">
                  <c:v>0.95763546798029542</c:v>
                </c:pt>
                <c:pt idx="7" formatCode="0.0%">
                  <c:v>0.97477624084621639</c:v>
                </c:pt>
                <c:pt idx="8" formatCode="0.0%">
                  <c:v>0.97388316151202736</c:v>
                </c:pt>
              </c:numCache>
            </c:numRef>
          </c:val>
          <c:smooth val="0"/>
          <c:extLst>
            <c:ext xmlns:c16="http://schemas.microsoft.com/office/drawing/2014/chart" uri="{C3380CC4-5D6E-409C-BE32-E72D297353CC}">
              <c16:uniqueId val="{00000000-F831-48DD-B18C-5968988C5252}"/>
            </c:ext>
          </c:extLst>
        </c:ser>
        <c:ser>
          <c:idx val="1"/>
          <c:order val="1"/>
          <c:tx>
            <c:strRef>
              <c:f>'NECP Tracker'!$M$14</c:f>
              <c:strCache>
                <c:ptCount val="1"/>
                <c:pt idx="0">
                  <c:v>Share 2019</c:v>
                </c:pt>
              </c:strCache>
            </c:strRef>
          </c:tx>
          <c:spPr>
            <a:ln w="12700" cap="rnd">
              <a:solidFill>
                <a:srgbClr val="E63A57"/>
              </a:solidFill>
              <a:round/>
            </a:ln>
            <a:effectLst/>
          </c:spPr>
          <c:marker>
            <c:symbol val="triangle"/>
            <c:size val="5"/>
            <c:spPr>
              <a:solidFill>
                <a:srgbClr val="E63A57"/>
              </a:solidFill>
              <a:ln w="12700">
                <a:solidFill>
                  <a:srgbClr val="E63A57"/>
                </a:solidFill>
              </a:ln>
              <a:effectLst/>
            </c:spPr>
          </c:marker>
          <c:cat>
            <c:numRef>
              <c:f>'NECP Tracker'!$N$12:$V$12</c:f>
              <c:numCache>
                <c:formatCode>General</c:formatCode>
                <c:ptCount val="9"/>
                <c:pt idx="0">
                  <c:v>2020</c:v>
                </c:pt>
                <c:pt idx="1">
                  <c:v>2022</c:v>
                </c:pt>
                <c:pt idx="2">
                  <c:v>2025</c:v>
                </c:pt>
                <c:pt idx="3">
                  <c:v>2027</c:v>
                </c:pt>
                <c:pt idx="4">
                  <c:v>2030</c:v>
                </c:pt>
                <c:pt idx="5">
                  <c:v>2035</c:v>
                </c:pt>
                <c:pt idx="6">
                  <c:v>2040</c:v>
                </c:pt>
                <c:pt idx="7">
                  <c:v>2045</c:v>
                </c:pt>
                <c:pt idx="8">
                  <c:v>2050</c:v>
                </c:pt>
              </c:numCache>
            </c:numRef>
          </c:cat>
          <c:val>
            <c:numRef>
              <c:f>'NECP Tracker'!$N$14:$V$14</c:f>
              <c:numCache>
                <c:formatCode>0.0%</c:formatCode>
                <c:ptCount val="9"/>
                <c:pt idx="0">
                  <c:v>0.32991599847269948</c:v>
                </c:pt>
                <c:pt idx="1">
                  <c:v>0.42533414107758127</c:v>
                </c:pt>
                <c:pt idx="2">
                  <c:v>0.50839120903413593</c:v>
                </c:pt>
                <c:pt idx="3">
                  <c:v>0.56900827953459521</c:v>
                </c:pt>
                <c:pt idx="4">
                  <c:v>0.63810339403684146</c:v>
                </c:pt>
              </c:numCache>
            </c:numRef>
          </c:val>
          <c:smooth val="1"/>
          <c:extLst>
            <c:ext xmlns:c16="http://schemas.microsoft.com/office/drawing/2014/chart" uri="{C3380CC4-5D6E-409C-BE32-E72D297353CC}">
              <c16:uniqueId val="{00000001-F831-48DD-B18C-5968988C5252}"/>
            </c:ext>
          </c:extLst>
        </c:ser>
        <c:dLbls>
          <c:showLegendKey val="0"/>
          <c:showVal val="0"/>
          <c:showCatName val="0"/>
          <c:showSerName val="0"/>
          <c:showPercent val="0"/>
          <c:showBubbleSize val="0"/>
        </c:dLbls>
        <c:marker val="1"/>
        <c:smooth val="0"/>
        <c:axId val="2137058495"/>
        <c:axId val="2137058975"/>
      </c:lineChart>
      <c:catAx>
        <c:axId val="2137058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7058975"/>
        <c:crosses val="autoZero"/>
        <c:auto val="1"/>
        <c:lblAlgn val="ctr"/>
        <c:lblOffset val="100"/>
        <c:noMultiLvlLbl val="0"/>
      </c:catAx>
      <c:valAx>
        <c:axId val="2137058975"/>
        <c:scaling>
          <c:orientation val="minMax"/>
          <c:max val="1"/>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3705849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B050"/>
            </a:solidFill>
            <a:ln>
              <a:noFill/>
            </a:ln>
            <a:effectLst/>
          </c:spPr>
          <c:invertIfNegative val="0"/>
          <c:dPt>
            <c:idx val="16"/>
            <c:invertIfNegative val="0"/>
            <c:bubble3D val="0"/>
            <c:spPr>
              <a:solidFill>
                <a:srgbClr val="0070C0"/>
              </a:solidFill>
              <a:ln>
                <a:noFill/>
              </a:ln>
              <a:effectLst/>
            </c:spPr>
            <c:extLst>
              <c:ext xmlns:c16="http://schemas.microsoft.com/office/drawing/2014/chart" uri="{C3380CC4-5D6E-409C-BE32-E72D297353CC}">
                <c16:uniqueId val="{00000001-5330-4EAB-9997-1A0FED0AD299}"/>
              </c:ext>
            </c:extLst>
          </c:dPt>
          <c:dLbls>
            <c:spPr>
              <a:noFill/>
              <a:ln>
                <a:noFill/>
              </a:ln>
              <a:effectLst/>
            </c:spPr>
            <c:txPr>
              <a:bodyPr rot="-5400000" spcFirstLastPara="1" vertOverflow="ellipsis" wrap="square" anchor="ctr" anchorCtr="1"/>
              <a:lstStyle/>
              <a:p>
                <a:pPr>
                  <a:defRPr sz="800" b="0" i="0" u="none" strike="noStrike" kern="1200" baseline="0">
                    <a:solidFill>
                      <a:schemeClr val="bg1"/>
                    </a:solidFill>
                    <a:latin typeface="+mj-lt"/>
                    <a:ea typeface="Verdana" panose="020B0604030504040204" pitchFamily="34" charset="0"/>
                    <a:cs typeface="+mn-cs"/>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 share EU'!$N$34:$N$46,'RES share EU'!$N$48:$N$61)</c:f>
              <c:strCache>
                <c:ptCount val="27"/>
                <c:pt idx="0">
                  <c:v>Luxembourg</c:v>
                </c:pt>
                <c:pt idx="1">
                  <c:v>Belgium</c:v>
                </c:pt>
                <c:pt idx="2">
                  <c:v>Malta</c:v>
                </c:pt>
                <c:pt idx="3">
                  <c:v>Ireland</c:v>
                </c:pt>
                <c:pt idx="4">
                  <c:v>Poland</c:v>
                </c:pt>
                <c:pt idx="5">
                  <c:v>Slovakia</c:v>
                </c:pt>
                <c:pt idx="6">
                  <c:v>Hungary</c:v>
                </c:pt>
                <c:pt idx="7">
                  <c:v>Netherlands</c:v>
                </c:pt>
                <c:pt idx="8">
                  <c:v>Czechia</c:v>
                </c:pt>
                <c:pt idx="9">
                  <c:v>Italy</c:v>
                </c:pt>
                <c:pt idx="10">
                  <c:v>Cyprus</c:v>
                </c:pt>
                <c:pt idx="11">
                  <c:v>Germany</c:v>
                </c:pt>
                <c:pt idx="12">
                  <c:v>France</c:v>
                </c:pt>
                <c:pt idx="13">
                  <c:v>EU Countries</c:v>
                </c:pt>
                <c:pt idx="14">
                  <c:v>Spain</c:v>
                </c:pt>
                <c:pt idx="15">
                  <c:v>Slovenia</c:v>
                </c:pt>
                <c:pt idx="16">
                  <c:v>Greece</c:v>
                </c:pt>
                <c:pt idx="17">
                  <c:v>Romania</c:v>
                </c:pt>
                <c:pt idx="18">
                  <c:v>Croatia</c:v>
                </c:pt>
                <c:pt idx="19">
                  <c:v>Lithuania</c:v>
                </c:pt>
                <c:pt idx="20">
                  <c:v>Portugal</c:v>
                </c:pt>
                <c:pt idx="21">
                  <c:v>Austria</c:v>
                </c:pt>
                <c:pt idx="22">
                  <c:v>Estonia</c:v>
                </c:pt>
                <c:pt idx="23">
                  <c:v>Latvia</c:v>
                </c:pt>
                <c:pt idx="24">
                  <c:v>Denmark</c:v>
                </c:pt>
                <c:pt idx="25">
                  <c:v>Finland</c:v>
                </c:pt>
                <c:pt idx="26">
                  <c:v>Sweden</c:v>
                </c:pt>
              </c:strCache>
              <c:extLst/>
            </c:strRef>
          </c:cat>
          <c:val>
            <c:numRef>
              <c:f>('RES share EU'!$R$34:$R$46,'RES share EU'!$R$48:$R$61)</c:f>
              <c:numCache>
                <c:formatCode>0%</c:formatCode>
                <c:ptCount val="27"/>
                <c:pt idx="0">
                  <c:v>0.14355000000000001</c:v>
                </c:pt>
                <c:pt idx="1">
                  <c:v>0.14740999999999999</c:v>
                </c:pt>
                <c:pt idx="2">
                  <c:v>0.15076999999999999</c:v>
                </c:pt>
                <c:pt idx="3">
                  <c:v>0.15253</c:v>
                </c:pt>
                <c:pt idx="4">
                  <c:v>0.16564000000000001</c:v>
                </c:pt>
                <c:pt idx="5">
                  <c:v>0.1699</c:v>
                </c:pt>
                <c:pt idx="6">
                  <c:v>0.17117000000000002</c:v>
                </c:pt>
                <c:pt idx="7">
                  <c:v>0.17420000000000002</c:v>
                </c:pt>
                <c:pt idx="8">
                  <c:v>0.18586</c:v>
                </c:pt>
                <c:pt idx="9">
                  <c:v>0.19594</c:v>
                </c:pt>
                <c:pt idx="10">
                  <c:v>0.20213</c:v>
                </c:pt>
                <c:pt idx="11">
                  <c:v>0.21562000000000001</c:v>
                </c:pt>
                <c:pt idx="12">
                  <c:v>0.22283</c:v>
                </c:pt>
                <c:pt idx="13">
                  <c:v>0.24553999999999998</c:v>
                </c:pt>
                <c:pt idx="14">
                  <c:v>0.24851999999999999</c:v>
                </c:pt>
                <c:pt idx="15">
                  <c:v>0.25065999999999999</c:v>
                </c:pt>
                <c:pt idx="16">
                  <c:v>0.25268999999999997</c:v>
                </c:pt>
                <c:pt idx="17">
                  <c:v>0.25757000000000002</c:v>
                </c:pt>
                <c:pt idx="18">
                  <c:v>0.28050999999999998</c:v>
                </c:pt>
                <c:pt idx="19">
                  <c:v>0.31925999999999999</c:v>
                </c:pt>
                <c:pt idx="20">
                  <c:v>0.35162999999999994</c:v>
                </c:pt>
                <c:pt idx="21">
                  <c:v>0.40844000000000003</c:v>
                </c:pt>
                <c:pt idx="22">
                  <c:v>0.40950000000000003</c:v>
                </c:pt>
                <c:pt idx="23">
                  <c:v>0.43223</c:v>
                </c:pt>
                <c:pt idx="24">
                  <c:v>0.44396000000000002</c:v>
                </c:pt>
                <c:pt idx="25">
                  <c:v>0.50749999999999995</c:v>
                </c:pt>
                <c:pt idx="26">
                  <c:v>0.66393000000000002</c:v>
                </c:pt>
              </c:numCache>
              <c:extLst/>
            </c:numRef>
          </c:val>
          <c:extLst>
            <c:ext xmlns:c16="http://schemas.microsoft.com/office/drawing/2014/chart" uri="{C3380CC4-5D6E-409C-BE32-E72D297353CC}">
              <c16:uniqueId val="{00000002-5330-4EAB-9997-1A0FED0AD299}"/>
            </c:ext>
          </c:extLst>
        </c:ser>
        <c:dLbls>
          <c:showLegendKey val="0"/>
          <c:showVal val="0"/>
          <c:showCatName val="0"/>
          <c:showSerName val="0"/>
          <c:showPercent val="0"/>
          <c:showBubbleSize val="0"/>
        </c:dLbls>
        <c:gapWidth val="59"/>
        <c:overlap val="-27"/>
        <c:axId val="1439386111"/>
        <c:axId val="1439389951"/>
      </c:barChart>
      <c:catAx>
        <c:axId val="1439386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439389951"/>
        <c:crosses val="autoZero"/>
        <c:auto val="1"/>
        <c:lblAlgn val="ctr"/>
        <c:lblOffset val="100"/>
        <c:noMultiLvlLbl val="0"/>
      </c:catAx>
      <c:valAx>
        <c:axId val="1439389951"/>
        <c:scaling>
          <c:orientation val="minMax"/>
        </c:scaling>
        <c:delete val="1"/>
        <c:axPos val="l"/>
        <c:numFmt formatCode="0%" sourceLinked="1"/>
        <c:majorTickMark val="none"/>
        <c:minorTickMark val="none"/>
        <c:tickLblPos val="nextTo"/>
        <c:crossAx val="1439386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RES share EU'!$A$34</c:f>
              <c:strCache>
                <c:ptCount val="1"/>
                <c:pt idx="0">
                  <c:v>EU Countries</c:v>
                </c:pt>
              </c:strCache>
            </c:strRef>
          </c:tx>
          <c:spPr>
            <a:solidFill>
              <a:srgbClr val="0F55F5"/>
            </a:solidFill>
            <a:ln w="25400">
              <a:noFill/>
            </a:ln>
            <a:effectLst/>
          </c:spPr>
          <c:cat>
            <c:strRef>
              <c:f>'RES share EU'!$B$3:$L$3</c:f>
              <c:strCache>
                <c:ptCount val="11"/>
                <c:pt idx="0">
                  <c:v>2013</c:v>
                </c:pt>
                <c:pt idx="1">
                  <c:v>2014</c:v>
                </c:pt>
                <c:pt idx="2">
                  <c:v>2015</c:v>
                </c:pt>
                <c:pt idx="3">
                  <c:v>2016</c:v>
                </c:pt>
                <c:pt idx="4">
                  <c:v>2017</c:v>
                </c:pt>
                <c:pt idx="5">
                  <c:v>2018</c:v>
                </c:pt>
                <c:pt idx="6">
                  <c:v>2019</c:v>
                </c:pt>
                <c:pt idx="7">
                  <c:v>2020</c:v>
                </c:pt>
                <c:pt idx="8">
                  <c:v>2021</c:v>
                </c:pt>
                <c:pt idx="9">
                  <c:v>2022</c:v>
                </c:pt>
                <c:pt idx="10">
                  <c:v>2023</c:v>
                </c:pt>
              </c:strCache>
            </c:strRef>
          </c:cat>
          <c:val>
            <c:numRef>
              <c:f>'RES share EU'!$B$34:$L$34</c:f>
              <c:numCache>
                <c:formatCode>0%</c:formatCode>
                <c:ptCount val="11"/>
                <c:pt idx="0">
                  <c:v>0.16658999999999999</c:v>
                </c:pt>
                <c:pt idx="1">
                  <c:v>0.17416000000000001</c:v>
                </c:pt>
                <c:pt idx="2">
                  <c:v>0.1782</c:v>
                </c:pt>
                <c:pt idx="3">
                  <c:v>0.17978000000000002</c:v>
                </c:pt>
                <c:pt idx="4">
                  <c:v>0.18411000000000002</c:v>
                </c:pt>
                <c:pt idx="5">
                  <c:v>0.19095999999999999</c:v>
                </c:pt>
                <c:pt idx="6">
                  <c:v>0.19886999999999999</c:v>
                </c:pt>
                <c:pt idx="7">
                  <c:v>0.22037999999999999</c:v>
                </c:pt>
                <c:pt idx="8">
                  <c:v>0.21894</c:v>
                </c:pt>
                <c:pt idx="9">
                  <c:v>0.23058000000000001</c:v>
                </c:pt>
                <c:pt idx="10">
                  <c:v>0.24553999999999998</c:v>
                </c:pt>
              </c:numCache>
            </c:numRef>
          </c:val>
          <c:extLst>
            <c:ext xmlns:c16="http://schemas.microsoft.com/office/drawing/2014/chart" uri="{C3380CC4-5D6E-409C-BE32-E72D297353CC}">
              <c16:uniqueId val="{00000000-F952-4403-AFE3-4508345B59D6}"/>
            </c:ext>
          </c:extLst>
        </c:ser>
        <c:dLbls>
          <c:showLegendKey val="0"/>
          <c:showVal val="0"/>
          <c:showCatName val="0"/>
          <c:showSerName val="0"/>
          <c:showPercent val="0"/>
          <c:showBubbleSize val="0"/>
        </c:dLbls>
        <c:axId val="1269427935"/>
        <c:axId val="1269430815"/>
      </c:areaChart>
      <c:catAx>
        <c:axId val="126942793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269430815"/>
        <c:crosses val="autoZero"/>
        <c:auto val="1"/>
        <c:lblAlgn val="ctr"/>
        <c:lblOffset val="100"/>
        <c:noMultiLvlLbl val="0"/>
      </c:catAx>
      <c:valAx>
        <c:axId val="1269430815"/>
        <c:scaling>
          <c:orientation val="minMax"/>
          <c:max val="0.25"/>
          <c:min val="0"/>
        </c:scaling>
        <c:delete val="0"/>
        <c:axPos val="l"/>
        <c:numFmt formatCode="0%" sourceLinked="1"/>
        <c:majorTickMark val="none"/>
        <c:minorTickMark val="none"/>
        <c:tickLblPos val="nextTo"/>
        <c:spPr>
          <a:solidFill>
            <a:schemeClr val="bg1"/>
          </a:solid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26942793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ES penetration EU'!$G$2</c:f>
              <c:strCache>
                <c:ptCount val="1"/>
                <c:pt idx="0">
                  <c:v>Solar</c:v>
                </c:pt>
              </c:strCache>
            </c:strRef>
          </c:tx>
          <c:spPr>
            <a:solidFill>
              <a:schemeClr val="accent5"/>
            </a:solidFill>
            <a:ln>
              <a:noFill/>
            </a:ln>
            <a:effectLst/>
          </c:spPr>
          <c:invertIfNegative val="0"/>
          <c:cat>
            <c:strRef>
              <c:f>'RES penetration EU'!$A$3:$A$30</c:f>
              <c:strCache>
                <c:ptCount val="28"/>
                <c:pt idx="0">
                  <c:v>Denmark</c:v>
                </c:pt>
                <c:pt idx="1">
                  <c:v>Lithuania</c:v>
                </c:pt>
                <c:pt idx="2">
                  <c:v>Luxembourg</c:v>
                </c:pt>
                <c:pt idx="3">
                  <c:v>Portugal</c:v>
                </c:pt>
                <c:pt idx="4">
                  <c:v>Netherlands</c:v>
                </c:pt>
                <c:pt idx="5">
                  <c:v>Spain</c:v>
                </c:pt>
                <c:pt idx="6">
                  <c:v>Greece</c:v>
                </c:pt>
                <c:pt idx="7">
                  <c:v>Germany</c:v>
                </c:pt>
                <c:pt idx="8">
                  <c:v>Ireland</c:v>
                </c:pt>
                <c:pt idx="9">
                  <c:v>Estonia</c:v>
                </c:pt>
                <c:pt idx="10">
                  <c:v>Belgium</c:v>
                </c:pt>
                <c:pt idx="11">
                  <c:v>EU</c:v>
                </c:pt>
                <c:pt idx="12">
                  <c:v>Hungary</c:v>
                </c:pt>
                <c:pt idx="13">
                  <c:v>Finland</c:v>
                </c:pt>
                <c:pt idx="14">
                  <c:v>Sweden</c:v>
                </c:pt>
                <c:pt idx="15">
                  <c:v>Poland</c:v>
                </c:pt>
                <c:pt idx="16">
                  <c:v>Austria</c:v>
                </c:pt>
                <c:pt idx="17">
                  <c:v>Cyprus</c:v>
                </c:pt>
                <c:pt idx="18">
                  <c:v>Italy</c:v>
                </c:pt>
                <c:pt idx="19">
                  <c:v>Croatia</c:v>
                </c:pt>
                <c:pt idx="20">
                  <c:v>Romania</c:v>
                </c:pt>
                <c:pt idx="21">
                  <c:v>Bulgaria</c:v>
                </c:pt>
                <c:pt idx="22">
                  <c:v>Malta</c:v>
                </c:pt>
                <c:pt idx="23">
                  <c:v>Latvia</c:v>
                </c:pt>
                <c:pt idx="24">
                  <c:v>France</c:v>
                </c:pt>
                <c:pt idx="25">
                  <c:v>Slovenia</c:v>
                </c:pt>
                <c:pt idx="26">
                  <c:v>Czechia</c:v>
                </c:pt>
                <c:pt idx="27">
                  <c:v>Slovakia</c:v>
                </c:pt>
              </c:strCache>
            </c:strRef>
          </c:cat>
          <c:val>
            <c:numRef>
              <c:f>'RES penetration EU'!$G$3:$G$30</c:f>
              <c:numCache>
                <c:formatCode>General</c:formatCode>
                <c:ptCount val="28"/>
                <c:pt idx="0">
                  <c:v>0.1125</c:v>
                </c:pt>
                <c:pt idx="1">
                  <c:v>0.19260000000000002</c:v>
                </c:pt>
                <c:pt idx="2">
                  <c:v>0.22440000000000002</c:v>
                </c:pt>
                <c:pt idx="3">
                  <c:v>0.1449</c:v>
                </c:pt>
                <c:pt idx="4">
                  <c:v>0.17699999999999999</c:v>
                </c:pt>
                <c:pt idx="5">
                  <c:v>0.20899999999999999</c:v>
                </c:pt>
                <c:pt idx="6">
                  <c:v>0.21539999999999998</c:v>
                </c:pt>
                <c:pt idx="7">
                  <c:v>0.1489</c:v>
                </c:pt>
                <c:pt idx="8">
                  <c:v>3.1400000000000004E-2</c:v>
                </c:pt>
                <c:pt idx="9">
                  <c:v>0.15210000000000001</c:v>
                </c:pt>
                <c:pt idx="10">
                  <c:v>0.11939999999999999</c:v>
                </c:pt>
                <c:pt idx="11">
                  <c:v>0.1105</c:v>
                </c:pt>
                <c:pt idx="12">
                  <c:v>0.2462</c:v>
                </c:pt>
                <c:pt idx="13">
                  <c:v>1.47E-2</c:v>
                </c:pt>
                <c:pt idx="14">
                  <c:v>2.1099999999999997E-2</c:v>
                </c:pt>
                <c:pt idx="15">
                  <c:v>8.9700000000000002E-2</c:v>
                </c:pt>
                <c:pt idx="16">
                  <c:v>0.11259999999999999</c:v>
                </c:pt>
                <c:pt idx="17">
                  <c:v>0.19409999999999999</c:v>
                </c:pt>
                <c:pt idx="18">
                  <c:v>0.13550000000000001</c:v>
                </c:pt>
                <c:pt idx="19">
                  <c:v>5.5999999999999994E-2</c:v>
                </c:pt>
                <c:pt idx="20">
                  <c:v>7.9500000000000001E-2</c:v>
                </c:pt>
                <c:pt idx="21">
                  <c:v>0.1439</c:v>
                </c:pt>
                <c:pt idx="22">
                  <c:v>0.16289999999999999</c:v>
                </c:pt>
                <c:pt idx="23">
                  <c:v>8.0100000000000005E-2</c:v>
                </c:pt>
                <c:pt idx="24">
                  <c:v>4.2300000000000004E-2</c:v>
                </c:pt>
                <c:pt idx="25">
                  <c:v>8.7100000000000011E-2</c:v>
                </c:pt>
                <c:pt idx="26">
                  <c:v>5.4800000000000001E-2</c:v>
                </c:pt>
                <c:pt idx="27">
                  <c:v>2.3199999999999998E-2</c:v>
                </c:pt>
              </c:numCache>
            </c:numRef>
          </c:val>
          <c:extLst>
            <c:ext xmlns:c16="http://schemas.microsoft.com/office/drawing/2014/chart" uri="{C3380CC4-5D6E-409C-BE32-E72D297353CC}">
              <c16:uniqueId val="{00000000-789C-4703-91B8-41C96A8F8DF8}"/>
            </c:ext>
          </c:extLst>
        </c:ser>
        <c:ser>
          <c:idx val="1"/>
          <c:order val="1"/>
          <c:tx>
            <c:strRef>
              <c:f>'RES penetration EU'!$H$2</c:f>
              <c:strCache>
                <c:ptCount val="1"/>
                <c:pt idx="0">
                  <c:v>Wind</c:v>
                </c:pt>
              </c:strCache>
            </c:strRef>
          </c:tx>
          <c:spPr>
            <a:solidFill>
              <a:srgbClr val="126F05"/>
            </a:solidFill>
            <a:ln>
              <a:noFill/>
            </a:ln>
            <a:effectLst/>
          </c:spPr>
          <c:invertIfNegative val="0"/>
          <c:cat>
            <c:strRef>
              <c:f>'RES penetration EU'!$A$3:$A$30</c:f>
              <c:strCache>
                <c:ptCount val="28"/>
                <c:pt idx="0">
                  <c:v>Denmark</c:v>
                </c:pt>
                <c:pt idx="1">
                  <c:v>Lithuania</c:v>
                </c:pt>
                <c:pt idx="2">
                  <c:v>Luxembourg</c:v>
                </c:pt>
                <c:pt idx="3">
                  <c:v>Portugal</c:v>
                </c:pt>
                <c:pt idx="4">
                  <c:v>Netherlands</c:v>
                </c:pt>
                <c:pt idx="5">
                  <c:v>Spain</c:v>
                </c:pt>
                <c:pt idx="6">
                  <c:v>Greece</c:v>
                </c:pt>
                <c:pt idx="7">
                  <c:v>Germany</c:v>
                </c:pt>
                <c:pt idx="8">
                  <c:v>Ireland</c:v>
                </c:pt>
                <c:pt idx="9">
                  <c:v>Estonia</c:v>
                </c:pt>
                <c:pt idx="10">
                  <c:v>Belgium</c:v>
                </c:pt>
                <c:pt idx="11">
                  <c:v>EU</c:v>
                </c:pt>
                <c:pt idx="12">
                  <c:v>Hungary</c:v>
                </c:pt>
                <c:pt idx="13">
                  <c:v>Finland</c:v>
                </c:pt>
                <c:pt idx="14">
                  <c:v>Sweden</c:v>
                </c:pt>
                <c:pt idx="15">
                  <c:v>Poland</c:v>
                </c:pt>
                <c:pt idx="16">
                  <c:v>Austria</c:v>
                </c:pt>
                <c:pt idx="17">
                  <c:v>Cyprus</c:v>
                </c:pt>
                <c:pt idx="18">
                  <c:v>Italy</c:v>
                </c:pt>
                <c:pt idx="19">
                  <c:v>Croatia</c:v>
                </c:pt>
                <c:pt idx="20">
                  <c:v>Romania</c:v>
                </c:pt>
                <c:pt idx="21">
                  <c:v>Bulgaria</c:v>
                </c:pt>
                <c:pt idx="22">
                  <c:v>Malta</c:v>
                </c:pt>
                <c:pt idx="23">
                  <c:v>Latvia</c:v>
                </c:pt>
                <c:pt idx="24">
                  <c:v>France</c:v>
                </c:pt>
                <c:pt idx="25">
                  <c:v>Slovenia</c:v>
                </c:pt>
                <c:pt idx="26">
                  <c:v>Czechia</c:v>
                </c:pt>
                <c:pt idx="27">
                  <c:v>Slovakia</c:v>
                </c:pt>
              </c:strCache>
            </c:strRef>
          </c:cat>
          <c:val>
            <c:numRef>
              <c:f>'RES penetration EU'!$H$3:$H$30</c:f>
              <c:numCache>
                <c:formatCode>General</c:formatCode>
                <c:ptCount val="28"/>
                <c:pt idx="0">
                  <c:v>0.5786</c:v>
                </c:pt>
                <c:pt idx="1">
                  <c:v>0.4536</c:v>
                </c:pt>
                <c:pt idx="2">
                  <c:v>0.28850000000000003</c:v>
                </c:pt>
                <c:pt idx="3">
                  <c:v>0.31059999999999999</c:v>
                </c:pt>
                <c:pt idx="4">
                  <c:v>0.2702</c:v>
                </c:pt>
                <c:pt idx="5">
                  <c:v>0.22440000000000002</c:v>
                </c:pt>
                <c:pt idx="6">
                  <c:v>0.21729999999999999</c:v>
                </c:pt>
                <c:pt idx="7">
                  <c:v>0.27979999999999999</c:v>
                </c:pt>
                <c:pt idx="8">
                  <c:v>0.37030000000000002</c:v>
                </c:pt>
                <c:pt idx="9">
                  <c:v>0.19170000000000001</c:v>
                </c:pt>
                <c:pt idx="10">
                  <c:v>0.18729999999999999</c:v>
                </c:pt>
                <c:pt idx="11">
                  <c:v>0.17499999999999999</c:v>
                </c:pt>
                <c:pt idx="12">
                  <c:v>1.7500000000000002E-2</c:v>
                </c:pt>
                <c:pt idx="13">
                  <c:v>0.2437</c:v>
                </c:pt>
                <c:pt idx="14">
                  <c:v>0.2364</c:v>
                </c:pt>
                <c:pt idx="15">
                  <c:v>0.14410000000000001</c:v>
                </c:pt>
                <c:pt idx="16">
                  <c:v>0.12050000000000001</c:v>
                </c:pt>
                <c:pt idx="17">
                  <c:v>3.5000000000000003E-2</c:v>
                </c:pt>
                <c:pt idx="18">
                  <c:v>8.5099999999999995E-2</c:v>
                </c:pt>
                <c:pt idx="19">
                  <c:v>0.16079999999999997</c:v>
                </c:pt>
                <c:pt idx="20">
                  <c:v>0.1216</c:v>
                </c:pt>
                <c:pt idx="21">
                  <c:v>3.9599999999999996E-2</c:v>
                </c:pt>
                <c:pt idx="22">
                  <c:v>0</c:v>
                </c:pt>
                <c:pt idx="23">
                  <c:v>4.0800000000000003E-2</c:v>
                </c:pt>
                <c:pt idx="24">
                  <c:v>7.7199999999999991E-2</c:v>
                </c:pt>
                <c:pt idx="25">
                  <c:v>5.9999999999999995E-4</c:v>
                </c:pt>
                <c:pt idx="26">
                  <c:v>9.300000000000001E-3</c:v>
                </c:pt>
                <c:pt idx="27">
                  <c:v>0</c:v>
                </c:pt>
              </c:numCache>
            </c:numRef>
          </c:val>
          <c:extLst>
            <c:ext xmlns:c16="http://schemas.microsoft.com/office/drawing/2014/chart" uri="{C3380CC4-5D6E-409C-BE32-E72D297353CC}">
              <c16:uniqueId val="{00000001-789C-4703-91B8-41C96A8F8DF8}"/>
            </c:ext>
          </c:extLst>
        </c:ser>
        <c:dLbls>
          <c:showLegendKey val="0"/>
          <c:showVal val="0"/>
          <c:showCatName val="0"/>
          <c:showSerName val="0"/>
          <c:showPercent val="0"/>
          <c:showBubbleSize val="0"/>
        </c:dLbls>
        <c:gapWidth val="50"/>
        <c:overlap val="100"/>
        <c:axId val="807898911"/>
        <c:axId val="807907551"/>
      </c:barChart>
      <c:catAx>
        <c:axId val="807898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807907551"/>
        <c:crosses val="autoZero"/>
        <c:auto val="1"/>
        <c:lblAlgn val="ctr"/>
        <c:lblOffset val="100"/>
        <c:noMultiLvlLbl val="0"/>
      </c:catAx>
      <c:valAx>
        <c:axId val="807907551"/>
        <c:scaling>
          <c:orientation val="minMax"/>
          <c:max val="0.70000000000000007"/>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807898911"/>
        <c:crosses val="autoZero"/>
        <c:crossBetween val="between"/>
      </c:valAx>
      <c:spPr>
        <a:noFill/>
        <a:ln>
          <a:noFill/>
        </a:ln>
        <a:effectLst/>
      </c:spPr>
    </c:plotArea>
    <c:legend>
      <c:legendPos val="t"/>
      <c:layout>
        <c:manualLayout>
          <c:xMode val="edge"/>
          <c:yMode val="edge"/>
          <c:x val="0.4139852621923043"/>
          <c:y val="2.7777522603685618E-2"/>
          <c:w val="0.17202947561539139"/>
          <c:h val="4.675110158655584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811407030849517E-2"/>
          <c:y val="0.14848935184865178"/>
          <c:w val="0.89718178651539227"/>
          <c:h val="0.5529200334547566"/>
        </c:manualLayout>
      </c:layout>
      <c:barChart>
        <c:barDir val="col"/>
        <c:grouping val="stacked"/>
        <c:varyColors val="0"/>
        <c:ser>
          <c:idx val="0"/>
          <c:order val="0"/>
          <c:tx>
            <c:strRef>
              <c:f>'RES penetration EU'!$G$2</c:f>
              <c:strCache>
                <c:ptCount val="1"/>
                <c:pt idx="0">
                  <c:v>Solar</c:v>
                </c:pt>
              </c:strCache>
            </c:strRef>
          </c:tx>
          <c:spPr>
            <a:solidFill>
              <a:schemeClr val="accent5"/>
            </a:solidFill>
            <a:ln>
              <a:noFill/>
            </a:ln>
            <a:effectLst/>
          </c:spPr>
          <c:invertIfNegative val="0"/>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9-43EF-B9BD-122F968BC46B}"/>
                </c:ext>
              </c:extLst>
            </c:dLbl>
            <c:dLbl>
              <c:idx val="11"/>
              <c:numFmt formatCode="0%" sourceLinked="0"/>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tx1"/>
                      </a:solidFill>
                      <a:latin typeface="Verdana" panose="020B0604030504040204" pitchFamily="34" charset="0"/>
                      <a:ea typeface="Verdana" panose="020B0604030504040204" pitchFamily="34" charset="0"/>
                      <a:cs typeface="+mn-cs"/>
                    </a:defRPr>
                  </a:pPr>
                  <a:endParaRPr lang="el-G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E9-43EF-B9BD-122F968BC46B}"/>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tx1"/>
                    </a:solidFill>
                    <a:latin typeface="Verdana" panose="020B0604030504040204" pitchFamily="34" charset="0"/>
                    <a:ea typeface="Verdana" panose="020B0604030504040204" pitchFamily="34" charset="0"/>
                    <a:cs typeface="+mn-cs"/>
                  </a:defRPr>
                </a:pPr>
                <a:endParaRPr lang="el-G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 penetration EU'!$A$3:$A$30</c:f>
              <c:strCache>
                <c:ptCount val="28"/>
                <c:pt idx="0">
                  <c:v>Denmark</c:v>
                </c:pt>
                <c:pt idx="1">
                  <c:v>Lithuania</c:v>
                </c:pt>
                <c:pt idx="2">
                  <c:v>Luxembourg</c:v>
                </c:pt>
                <c:pt idx="3">
                  <c:v>Portugal</c:v>
                </c:pt>
                <c:pt idx="4">
                  <c:v>Netherlands</c:v>
                </c:pt>
                <c:pt idx="5">
                  <c:v>Spain</c:v>
                </c:pt>
                <c:pt idx="6">
                  <c:v>Greece</c:v>
                </c:pt>
                <c:pt idx="7">
                  <c:v>Germany</c:v>
                </c:pt>
                <c:pt idx="8">
                  <c:v>Ireland</c:v>
                </c:pt>
                <c:pt idx="9">
                  <c:v>Estonia</c:v>
                </c:pt>
                <c:pt idx="10">
                  <c:v>Belgium</c:v>
                </c:pt>
                <c:pt idx="11">
                  <c:v>EU</c:v>
                </c:pt>
                <c:pt idx="12">
                  <c:v>Hungary</c:v>
                </c:pt>
                <c:pt idx="13">
                  <c:v>Finland</c:v>
                </c:pt>
                <c:pt idx="14">
                  <c:v>Sweden</c:v>
                </c:pt>
                <c:pt idx="15">
                  <c:v>Poland</c:v>
                </c:pt>
                <c:pt idx="16">
                  <c:v>Austria</c:v>
                </c:pt>
                <c:pt idx="17">
                  <c:v>Cyprus</c:v>
                </c:pt>
                <c:pt idx="18">
                  <c:v>Italy</c:v>
                </c:pt>
                <c:pt idx="19">
                  <c:v>Croatia</c:v>
                </c:pt>
                <c:pt idx="20">
                  <c:v>Romania</c:v>
                </c:pt>
                <c:pt idx="21">
                  <c:v>Bulgaria</c:v>
                </c:pt>
                <c:pt idx="22">
                  <c:v>Malta</c:v>
                </c:pt>
                <c:pt idx="23">
                  <c:v>Latvia</c:v>
                </c:pt>
                <c:pt idx="24">
                  <c:v>France</c:v>
                </c:pt>
                <c:pt idx="25">
                  <c:v>Slovenia</c:v>
                </c:pt>
                <c:pt idx="26">
                  <c:v>Czechia</c:v>
                </c:pt>
                <c:pt idx="27">
                  <c:v>Slovakia</c:v>
                </c:pt>
              </c:strCache>
            </c:strRef>
          </c:cat>
          <c:val>
            <c:numRef>
              <c:f>'RES penetration EU'!$G$3:$G$30</c:f>
              <c:numCache>
                <c:formatCode>General</c:formatCode>
                <c:ptCount val="28"/>
                <c:pt idx="0">
                  <c:v>0.1125</c:v>
                </c:pt>
                <c:pt idx="1">
                  <c:v>0.19260000000000002</c:v>
                </c:pt>
                <c:pt idx="2">
                  <c:v>0.22440000000000002</c:v>
                </c:pt>
                <c:pt idx="3">
                  <c:v>0.1449</c:v>
                </c:pt>
                <c:pt idx="4">
                  <c:v>0.17699999999999999</c:v>
                </c:pt>
                <c:pt idx="5">
                  <c:v>0.20899999999999999</c:v>
                </c:pt>
                <c:pt idx="6">
                  <c:v>0.21539999999999998</c:v>
                </c:pt>
                <c:pt idx="7">
                  <c:v>0.1489</c:v>
                </c:pt>
                <c:pt idx="8">
                  <c:v>3.1400000000000004E-2</c:v>
                </c:pt>
                <c:pt idx="9">
                  <c:v>0.15210000000000001</c:v>
                </c:pt>
                <c:pt idx="10">
                  <c:v>0.11939999999999999</c:v>
                </c:pt>
                <c:pt idx="11">
                  <c:v>0.1105</c:v>
                </c:pt>
                <c:pt idx="12">
                  <c:v>0.2462</c:v>
                </c:pt>
                <c:pt idx="13">
                  <c:v>1.47E-2</c:v>
                </c:pt>
                <c:pt idx="14">
                  <c:v>2.1099999999999997E-2</c:v>
                </c:pt>
                <c:pt idx="15">
                  <c:v>8.9700000000000002E-2</c:v>
                </c:pt>
                <c:pt idx="16">
                  <c:v>0.11259999999999999</c:v>
                </c:pt>
                <c:pt idx="17">
                  <c:v>0.19409999999999999</c:v>
                </c:pt>
                <c:pt idx="18">
                  <c:v>0.13550000000000001</c:v>
                </c:pt>
                <c:pt idx="19">
                  <c:v>5.5999999999999994E-2</c:v>
                </c:pt>
                <c:pt idx="20">
                  <c:v>7.9500000000000001E-2</c:v>
                </c:pt>
                <c:pt idx="21">
                  <c:v>0.1439</c:v>
                </c:pt>
                <c:pt idx="22">
                  <c:v>0.16289999999999999</c:v>
                </c:pt>
                <c:pt idx="23">
                  <c:v>8.0100000000000005E-2</c:v>
                </c:pt>
                <c:pt idx="24">
                  <c:v>4.2300000000000004E-2</c:v>
                </c:pt>
                <c:pt idx="25">
                  <c:v>8.7100000000000011E-2</c:v>
                </c:pt>
                <c:pt idx="26">
                  <c:v>5.4800000000000001E-2</c:v>
                </c:pt>
                <c:pt idx="27">
                  <c:v>2.3199999999999998E-2</c:v>
                </c:pt>
              </c:numCache>
            </c:numRef>
          </c:val>
          <c:extLst>
            <c:ext xmlns:c16="http://schemas.microsoft.com/office/drawing/2014/chart" uri="{C3380CC4-5D6E-409C-BE32-E72D297353CC}">
              <c16:uniqueId val="{00000002-3EE9-43EF-B9BD-122F968BC46B}"/>
            </c:ext>
          </c:extLst>
        </c:ser>
        <c:ser>
          <c:idx val="1"/>
          <c:order val="1"/>
          <c:tx>
            <c:strRef>
              <c:f>'RES penetration EU'!$H$2</c:f>
              <c:strCache>
                <c:ptCount val="1"/>
                <c:pt idx="0">
                  <c:v>Wind</c:v>
                </c:pt>
              </c:strCache>
            </c:strRef>
          </c:tx>
          <c:spPr>
            <a:solidFill>
              <a:srgbClr val="126F05"/>
            </a:solidFill>
            <a:ln>
              <a:noFill/>
            </a:ln>
            <a:effectLst/>
          </c:spPr>
          <c:invertIfNegative val="0"/>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EE9-43EF-B9BD-122F968BC46B}"/>
                </c:ext>
              </c:extLst>
            </c:dLbl>
            <c:dLbl>
              <c:idx val="11"/>
              <c:numFmt formatCode="0%" sourceLinked="0"/>
              <c:spPr>
                <a:noFill/>
                <a:ln>
                  <a:noFill/>
                </a:ln>
                <a:effectLst/>
              </c:spPr>
              <c:txPr>
                <a:bodyPr rot="-5400000" spcFirstLastPara="1" vertOverflow="ellipsis" wrap="square" lIns="38100" tIns="19050" rIns="38100" bIns="19050" anchor="ctr" anchorCtr="1">
                  <a:spAutoFit/>
                </a:bodyPr>
                <a:lstStyle/>
                <a:p>
                  <a:pPr>
                    <a:defRPr sz="700" b="0" i="0" u="none" strike="noStrike" kern="1200" baseline="0">
                      <a:solidFill>
                        <a:schemeClr val="bg1"/>
                      </a:solidFill>
                      <a:latin typeface="Verdana" panose="020B0604030504040204" pitchFamily="34" charset="0"/>
                      <a:ea typeface="Verdana" panose="020B0604030504040204" pitchFamily="34" charset="0"/>
                      <a:cs typeface="+mn-cs"/>
                    </a:defRPr>
                  </a:pPr>
                  <a:endParaRPr lang="el-G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EE9-43EF-B9BD-122F968BC46B}"/>
                </c:ext>
              </c:extLst>
            </c:dLbl>
            <c:numFmt formatCode="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l-G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S penetration EU'!$A$3:$A$30</c:f>
              <c:strCache>
                <c:ptCount val="28"/>
                <c:pt idx="0">
                  <c:v>Denmark</c:v>
                </c:pt>
                <c:pt idx="1">
                  <c:v>Lithuania</c:v>
                </c:pt>
                <c:pt idx="2">
                  <c:v>Luxembourg</c:v>
                </c:pt>
                <c:pt idx="3">
                  <c:v>Portugal</c:v>
                </c:pt>
                <c:pt idx="4">
                  <c:v>Netherlands</c:v>
                </c:pt>
                <c:pt idx="5">
                  <c:v>Spain</c:v>
                </c:pt>
                <c:pt idx="6">
                  <c:v>Greece</c:v>
                </c:pt>
                <c:pt idx="7">
                  <c:v>Germany</c:v>
                </c:pt>
                <c:pt idx="8">
                  <c:v>Ireland</c:v>
                </c:pt>
                <c:pt idx="9">
                  <c:v>Estonia</c:v>
                </c:pt>
                <c:pt idx="10">
                  <c:v>Belgium</c:v>
                </c:pt>
                <c:pt idx="11">
                  <c:v>EU</c:v>
                </c:pt>
                <c:pt idx="12">
                  <c:v>Hungary</c:v>
                </c:pt>
                <c:pt idx="13">
                  <c:v>Finland</c:v>
                </c:pt>
                <c:pt idx="14">
                  <c:v>Sweden</c:v>
                </c:pt>
                <c:pt idx="15">
                  <c:v>Poland</c:v>
                </c:pt>
                <c:pt idx="16">
                  <c:v>Austria</c:v>
                </c:pt>
                <c:pt idx="17">
                  <c:v>Cyprus</c:v>
                </c:pt>
                <c:pt idx="18">
                  <c:v>Italy</c:v>
                </c:pt>
                <c:pt idx="19">
                  <c:v>Croatia</c:v>
                </c:pt>
                <c:pt idx="20">
                  <c:v>Romania</c:v>
                </c:pt>
                <c:pt idx="21">
                  <c:v>Bulgaria</c:v>
                </c:pt>
                <c:pt idx="22">
                  <c:v>Malta</c:v>
                </c:pt>
                <c:pt idx="23">
                  <c:v>Latvia</c:v>
                </c:pt>
                <c:pt idx="24">
                  <c:v>France</c:v>
                </c:pt>
                <c:pt idx="25">
                  <c:v>Slovenia</c:v>
                </c:pt>
                <c:pt idx="26">
                  <c:v>Czechia</c:v>
                </c:pt>
                <c:pt idx="27">
                  <c:v>Slovakia</c:v>
                </c:pt>
              </c:strCache>
            </c:strRef>
          </c:cat>
          <c:val>
            <c:numRef>
              <c:f>'RES penetration EU'!$H$3:$H$30</c:f>
              <c:numCache>
                <c:formatCode>General</c:formatCode>
                <c:ptCount val="28"/>
                <c:pt idx="0">
                  <c:v>0.5786</c:v>
                </c:pt>
                <c:pt idx="1">
                  <c:v>0.4536</c:v>
                </c:pt>
                <c:pt idx="2">
                  <c:v>0.28850000000000003</c:v>
                </c:pt>
                <c:pt idx="3">
                  <c:v>0.31059999999999999</c:v>
                </c:pt>
                <c:pt idx="4">
                  <c:v>0.2702</c:v>
                </c:pt>
                <c:pt idx="5">
                  <c:v>0.22440000000000002</c:v>
                </c:pt>
                <c:pt idx="6">
                  <c:v>0.21729999999999999</c:v>
                </c:pt>
                <c:pt idx="7">
                  <c:v>0.27979999999999999</c:v>
                </c:pt>
                <c:pt idx="8">
                  <c:v>0.37030000000000002</c:v>
                </c:pt>
                <c:pt idx="9">
                  <c:v>0.19170000000000001</c:v>
                </c:pt>
                <c:pt idx="10">
                  <c:v>0.18729999999999999</c:v>
                </c:pt>
                <c:pt idx="11">
                  <c:v>0.17499999999999999</c:v>
                </c:pt>
                <c:pt idx="12">
                  <c:v>1.7500000000000002E-2</c:v>
                </c:pt>
                <c:pt idx="13">
                  <c:v>0.2437</c:v>
                </c:pt>
                <c:pt idx="14">
                  <c:v>0.2364</c:v>
                </c:pt>
                <c:pt idx="15">
                  <c:v>0.14410000000000001</c:v>
                </c:pt>
                <c:pt idx="16">
                  <c:v>0.12050000000000001</c:v>
                </c:pt>
                <c:pt idx="17">
                  <c:v>3.5000000000000003E-2</c:v>
                </c:pt>
                <c:pt idx="18">
                  <c:v>8.5099999999999995E-2</c:v>
                </c:pt>
                <c:pt idx="19">
                  <c:v>0.16079999999999997</c:v>
                </c:pt>
                <c:pt idx="20">
                  <c:v>0.1216</c:v>
                </c:pt>
                <c:pt idx="21">
                  <c:v>3.9599999999999996E-2</c:v>
                </c:pt>
                <c:pt idx="22">
                  <c:v>0</c:v>
                </c:pt>
                <c:pt idx="23">
                  <c:v>4.0800000000000003E-2</c:v>
                </c:pt>
                <c:pt idx="24">
                  <c:v>7.7199999999999991E-2</c:v>
                </c:pt>
                <c:pt idx="25">
                  <c:v>5.9999999999999995E-4</c:v>
                </c:pt>
                <c:pt idx="26">
                  <c:v>9.300000000000001E-3</c:v>
                </c:pt>
                <c:pt idx="27">
                  <c:v>0</c:v>
                </c:pt>
              </c:numCache>
            </c:numRef>
          </c:val>
          <c:extLst>
            <c:ext xmlns:c16="http://schemas.microsoft.com/office/drawing/2014/chart" uri="{C3380CC4-5D6E-409C-BE32-E72D297353CC}">
              <c16:uniqueId val="{00000005-3EE9-43EF-B9BD-122F968BC46B}"/>
            </c:ext>
          </c:extLst>
        </c:ser>
        <c:dLbls>
          <c:showLegendKey val="0"/>
          <c:showVal val="0"/>
          <c:showCatName val="0"/>
          <c:showSerName val="0"/>
          <c:showPercent val="0"/>
          <c:showBubbleSize val="0"/>
        </c:dLbls>
        <c:gapWidth val="28"/>
        <c:overlap val="100"/>
        <c:axId val="807898911"/>
        <c:axId val="807907551"/>
      </c:barChart>
      <c:catAx>
        <c:axId val="807898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7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807907551"/>
        <c:crosses val="autoZero"/>
        <c:auto val="1"/>
        <c:lblAlgn val="ctr"/>
        <c:lblOffset val="100"/>
        <c:noMultiLvlLbl val="0"/>
      </c:catAx>
      <c:valAx>
        <c:axId val="80790755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8078989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73716719445074E-2"/>
          <c:y val="5.0471968908978121E-2"/>
          <c:w val="0.90735994006751763"/>
          <c:h val="0.86024923286705235"/>
        </c:manualLayout>
      </c:layout>
      <c:lineChart>
        <c:grouping val="standard"/>
        <c:varyColors val="0"/>
        <c:ser>
          <c:idx val="0"/>
          <c:order val="0"/>
          <c:tx>
            <c:strRef>
              <c:f>'Special Purchase Price (STP) '!$C$27</c:f>
              <c:strCache>
                <c:ptCount val="1"/>
                <c:pt idx="0">
                  <c:v>Onshore wind</c:v>
                </c:pt>
              </c:strCache>
            </c:strRef>
          </c:tx>
          <c:spPr>
            <a:ln w="28575" cap="rnd">
              <a:solidFill>
                <a:srgbClr val="126F05"/>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C$28:$C$75</c:f>
              <c:numCache>
                <c:formatCode>General</c:formatCode>
                <c:ptCount val="48"/>
                <c:pt idx="0">
                  <c:v>50.58</c:v>
                </c:pt>
                <c:pt idx="1">
                  <c:v>46.46</c:v>
                </c:pt>
                <c:pt idx="2">
                  <c:v>55.53</c:v>
                </c:pt>
                <c:pt idx="3">
                  <c:v>61.92</c:v>
                </c:pt>
                <c:pt idx="4">
                  <c:v>60.86</c:v>
                </c:pt>
                <c:pt idx="5">
                  <c:v>79.97</c:v>
                </c:pt>
                <c:pt idx="6">
                  <c:v>97.9</c:v>
                </c:pt>
                <c:pt idx="7">
                  <c:v>112.1</c:v>
                </c:pt>
                <c:pt idx="8">
                  <c:v>128.30000000000001</c:v>
                </c:pt>
                <c:pt idx="9">
                  <c:v>192.39</c:v>
                </c:pt>
                <c:pt idx="10">
                  <c:v>224.58</c:v>
                </c:pt>
                <c:pt idx="11">
                  <c:v>216.54</c:v>
                </c:pt>
                <c:pt idx="12">
                  <c:v>221.54</c:v>
                </c:pt>
                <c:pt idx="13">
                  <c:v>206.69</c:v>
                </c:pt>
                <c:pt idx="14">
                  <c:v>263.18</c:v>
                </c:pt>
                <c:pt idx="15">
                  <c:v>228.46</c:v>
                </c:pt>
                <c:pt idx="16">
                  <c:v>216.95</c:v>
                </c:pt>
                <c:pt idx="17">
                  <c:v>225.54</c:v>
                </c:pt>
                <c:pt idx="18">
                  <c:v>317.29000000000002</c:v>
                </c:pt>
                <c:pt idx="19">
                  <c:v>85</c:v>
                </c:pt>
                <c:pt idx="20">
                  <c:v>84.77</c:v>
                </c:pt>
                <c:pt idx="21">
                  <c:v>84.59</c:v>
                </c:pt>
                <c:pt idx="22">
                  <c:v>84.74</c:v>
                </c:pt>
                <c:pt idx="23">
                  <c:v>79.790000000000006</c:v>
                </c:pt>
                <c:pt idx="24">
                  <c:v>75.5</c:v>
                </c:pt>
                <c:pt idx="25">
                  <c:v>82.16</c:v>
                </c:pt>
                <c:pt idx="26">
                  <c:v>78.75</c:v>
                </c:pt>
                <c:pt idx="27">
                  <c:v>78.64</c:v>
                </c:pt>
                <c:pt idx="28">
                  <c:v>77.02</c:v>
                </c:pt>
                <c:pt idx="29">
                  <c:v>76.099999999999994</c:v>
                </c:pt>
                <c:pt idx="30">
                  <c:v>83.06</c:v>
                </c:pt>
                <c:pt idx="31">
                  <c:v>77.02</c:v>
                </c:pt>
                <c:pt idx="32">
                  <c:v>76.75</c:v>
                </c:pt>
                <c:pt idx="33">
                  <c:v>77.3</c:v>
                </c:pt>
                <c:pt idx="34">
                  <c:v>71.91</c:v>
                </c:pt>
                <c:pt idx="35">
                  <c:v>77.58</c:v>
                </c:pt>
                <c:pt idx="36">
                  <c:v>90.23</c:v>
                </c:pt>
                <c:pt idx="37">
                  <c:v>69.930000000000007</c:v>
                </c:pt>
                <c:pt idx="38">
                  <c:v>67.010000000000005</c:v>
                </c:pt>
                <c:pt idx="39">
                  <c:v>60.86</c:v>
                </c:pt>
                <c:pt idx="40">
                  <c:v>75.62</c:v>
                </c:pt>
                <c:pt idx="41">
                  <c:v>98.03</c:v>
                </c:pt>
                <c:pt idx="42">
                  <c:v>127.73</c:v>
                </c:pt>
                <c:pt idx="43">
                  <c:v>120.21</c:v>
                </c:pt>
                <c:pt idx="44">
                  <c:v>99.54</c:v>
                </c:pt>
                <c:pt idx="45">
                  <c:v>90.51</c:v>
                </c:pt>
                <c:pt idx="46">
                  <c:v>121.55</c:v>
                </c:pt>
                <c:pt idx="47">
                  <c:v>120.18</c:v>
                </c:pt>
              </c:numCache>
            </c:numRef>
          </c:val>
          <c:smooth val="1"/>
          <c:extLst>
            <c:ext xmlns:c16="http://schemas.microsoft.com/office/drawing/2014/chart" uri="{C3380CC4-5D6E-409C-BE32-E72D297353CC}">
              <c16:uniqueId val="{00000000-00D7-45A5-BE3B-865885CAE4E4}"/>
            </c:ext>
          </c:extLst>
        </c:ser>
        <c:ser>
          <c:idx val="1"/>
          <c:order val="1"/>
          <c:tx>
            <c:strRef>
              <c:f>'Special Purchase Price (STP) '!$D$27</c:f>
              <c:strCache>
                <c:ptCount val="1"/>
                <c:pt idx="0">
                  <c:v>Solar PV</c:v>
                </c:pt>
              </c:strCache>
            </c:strRef>
          </c:tx>
          <c:spPr>
            <a:ln w="28575" cap="rnd">
              <a:solidFill>
                <a:schemeClr val="accent5"/>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D$28:$D$75</c:f>
              <c:numCache>
                <c:formatCode>General</c:formatCode>
                <c:ptCount val="48"/>
                <c:pt idx="0">
                  <c:v>58.17</c:v>
                </c:pt>
                <c:pt idx="1">
                  <c:v>51.73</c:v>
                </c:pt>
                <c:pt idx="2">
                  <c:v>54.61</c:v>
                </c:pt>
                <c:pt idx="3">
                  <c:v>60.88</c:v>
                </c:pt>
                <c:pt idx="4">
                  <c:v>59.01</c:v>
                </c:pt>
                <c:pt idx="5">
                  <c:v>84.11</c:v>
                </c:pt>
                <c:pt idx="6">
                  <c:v>104.46</c:v>
                </c:pt>
                <c:pt idx="7">
                  <c:v>122.34</c:v>
                </c:pt>
                <c:pt idx="8">
                  <c:v>133.16</c:v>
                </c:pt>
                <c:pt idx="9">
                  <c:v>192.39</c:v>
                </c:pt>
                <c:pt idx="10">
                  <c:v>225.39</c:v>
                </c:pt>
                <c:pt idx="11">
                  <c:v>248.79</c:v>
                </c:pt>
                <c:pt idx="12">
                  <c:v>223.22</c:v>
                </c:pt>
                <c:pt idx="13">
                  <c:v>201.52</c:v>
                </c:pt>
                <c:pt idx="14">
                  <c:v>242.1</c:v>
                </c:pt>
                <c:pt idx="15">
                  <c:v>218.29</c:v>
                </c:pt>
                <c:pt idx="16">
                  <c:v>211.19</c:v>
                </c:pt>
                <c:pt idx="17">
                  <c:v>231</c:v>
                </c:pt>
                <c:pt idx="18">
                  <c:v>298.66000000000003</c:v>
                </c:pt>
                <c:pt idx="19">
                  <c:v>85</c:v>
                </c:pt>
                <c:pt idx="20">
                  <c:v>84.56</c:v>
                </c:pt>
                <c:pt idx="21">
                  <c:v>84.11</c:v>
                </c:pt>
                <c:pt idx="22">
                  <c:v>84.97</c:v>
                </c:pt>
                <c:pt idx="23">
                  <c:v>84.96</c:v>
                </c:pt>
                <c:pt idx="24">
                  <c:v>81.260000000000005</c:v>
                </c:pt>
                <c:pt idx="25">
                  <c:v>82.35</c:v>
                </c:pt>
                <c:pt idx="26">
                  <c:v>73.209999999999994</c:v>
                </c:pt>
                <c:pt idx="27">
                  <c:v>75.040000000000006</c:v>
                </c:pt>
                <c:pt idx="28">
                  <c:v>70.78</c:v>
                </c:pt>
                <c:pt idx="29">
                  <c:v>65.06</c:v>
                </c:pt>
                <c:pt idx="30">
                  <c:v>79.83</c:v>
                </c:pt>
                <c:pt idx="31">
                  <c:v>72.430000000000007</c:v>
                </c:pt>
                <c:pt idx="32">
                  <c:v>68.78</c:v>
                </c:pt>
                <c:pt idx="33">
                  <c:v>69.72</c:v>
                </c:pt>
                <c:pt idx="34">
                  <c:v>72.03</c:v>
                </c:pt>
                <c:pt idx="35">
                  <c:v>69.92</c:v>
                </c:pt>
                <c:pt idx="36">
                  <c:v>87.29</c:v>
                </c:pt>
                <c:pt idx="37">
                  <c:v>61.48</c:v>
                </c:pt>
                <c:pt idx="38">
                  <c:v>46.09</c:v>
                </c:pt>
                <c:pt idx="39">
                  <c:v>33</c:v>
                </c:pt>
                <c:pt idx="40">
                  <c:v>59.46</c:v>
                </c:pt>
                <c:pt idx="41">
                  <c:v>70.510000000000005</c:v>
                </c:pt>
                <c:pt idx="42">
                  <c:v>85.67</c:v>
                </c:pt>
                <c:pt idx="43">
                  <c:v>89.19</c:v>
                </c:pt>
                <c:pt idx="44">
                  <c:v>73.61</c:v>
                </c:pt>
                <c:pt idx="45">
                  <c:v>53.17</c:v>
                </c:pt>
                <c:pt idx="46">
                  <c:v>95.83</c:v>
                </c:pt>
                <c:pt idx="47">
                  <c:v>118.62</c:v>
                </c:pt>
              </c:numCache>
            </c:numRef>
          </c:val>
          <c:smooth val="0"/>
          <c:extLst>
            <c:ext xmlns:c16="http://schemas.microsoft.com/office/drawing/2014/chart" uri="{C3380CC4-5D6E-409C-BE32-E72D297353CC}">
              <c16:uniqueId val="{00000001-00D7-45A5-BE3B-865885CAE4E4}"/>
            </c:ext>
          </c:extLst>
        </c:ser>
        <c:ser>
          <c:idx val="2"/>
          <c:order val="2"/>
          <c:tx>
            <c:strRef>
              <c:f>'Special Purchase Price (STP) '!$E$27</c:f>
              <c:strCache>
                <c:ptCount val="1"/>
                <c:pt idx="0">
                  <c:v>Hydro</c:v>
                </c:pt>
              </c:strCache>
            </c:strRef>
          </c:tx>
          <c:spPr>
            <a:ln w="28575" cap="rnd">
              <a:solidFill>
                <a:srgbClr val="00B0F0"/>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E$28:$E$75</c:f>
              <c:numCache>
                <c:formatCode>General</c:formatCode>
                <c:ptCount val="48"/>
                <c:pt idx="0">
                  <c:v>52.77</c:v>
                </c:pt>
                <c:pt idx="1">
                  <c:v>50.57</c:v>
                </c:pt>
                <c:pt idx="2">
                  <c:v>57.78</c:v>
                </c:pt>
                <c:pt idx="3">
                  <c:v>63.68</c:v>
                </c:pt>
                <c:pt idx="4">
                  <c:v>62.48</c:v>
                </c:pt>
                <c:pt idx="5">
                  <c:v>83.02</c:v>
                </c:pt>
                <c:pt idx="6">
                  <c:v>101.91</c:v>
                </c:pt>
                <c:pt idx="7">
                  <c:v>122.57</c:v>
                </c:pt>
                <c:pt idx="8">
                  <c:v>134.44</c:v>
                </c:pt>
                <c:pt idx="9">
                  <c:v>203.64</c:v>
                </c:pt>
                <c:pt idx="10">
                  <c:v>228.95</c:v>
                </c:pt>
                <c:pt idx="11">
                  <c:v>235.01</c:v>
                </c:pt>
                <c:pt idx="12">
                  <c:v>223.91</c:v>
                </c:pt>
                <c:pt idx="13">
                  <c:v>211.13</c:v>
                </c:pt>
                <c:pt idx="14">
                  <c:v>274.5</c:v>
                </c:pt>
                <c:pt idx="15">
                  <c:v>246.97</c:v>
                </c:pt>
                <c:pt idx="16">
                  <c:v>225.33</c:v>
                </c:pt>
                <c:pt idx="17">
                  <c:v>234.5</c:v>
                </c:pt>
                <c:pt idx="18">
                  <c:v>335.22</c:v>
                </c:pt>
                <c:pt idx="19">
                  <c:v>85</c:v>
                </c:pt>
                <c:pt idx="20">
                  <c:v>84.88</c:v>
                </c:pt>
                <c:pt idx="21">
                  <c:v>84.71</c:v>
                </c:pt>
                <c:pt idx="22">
                  <c:v>84.83</c:v>
                </c:pt>
                <c:pt idx="23">
                  <c:v>82.39</c:v>
                </c:pt>
                <c:pt idx="24">
                  <c:v>80.959999999999994</c:v>
                </c:pt>
                <c:pt idx="25">
                  <c:v>83.58</c:v>
                </c:pt>
                <c:pt idx="26">
                  <c:v>80.55</c:v>
                </c:pt>
                <c:pt idx="27">
                  <c:v>81.260000000000005</c:v>
                </c:pt>
                <c:pt idx="28">
                  <c:v>79.3</c:v>
                </c:pt>
                <c:pt idx="29">
                  <c:v>75.739999999999995</c:v>
                </c:pt>
                <c:pt idx="30">
                  <c:v>82.42</c:v>
                </c:pt>
                <c:pt idx="31">
                  <c:v>79.459999999999994</c:v>
                </c:pt>
                <c:pt idx="32">
                  <c:v>79.099999999999994</c:v>
                </c:pt>
                <c:pt idx="33">
                  <c:v>78.48</c:v>
                </c:pt>
                <c:pt idx="34">
                  <c:v>76.69</c:v>
                </c:pt>
                <c:pt idx="35">
                  <c:v>78.97</c:v>
                </c:pt>
                <c:pt idx="36">
                  <c:v>93.69</c:v>
                </c:pt>
                <c:pt idx="37">
                  <c:v>73.430000000000007</c:v>
                </c:pt>
                <c:pt idx="38">
                  <c:v>68.92</c:v>
                </c:pt>
                <c:pt idx="39">
                  <c:v>62.02</c:v>
                </c:pt>
                <c:pt idx="40">
                  <c:v>81.16</c:v>
                </c:pt>
                <c:pt idx="41">
                  <c:v>98.72</c:v>
                </c:pt>
                <c:pt idx="42">
                  <c:v>134.72999999999999</c:v>
                </c:pt>
                <c:pt idx="43">
                  <c:v>130.19</c:v>
                </c:pt>
                <c:pt idx="44">
                  <c:v>113.84</c:v>
                </c:pt>
                <c:pt idx="45">
                  <c:v>89.98</c:v>
                </c:pt>
                <c:pt idx="46">
                  <c:v>139.61000000000001</c:v>
                </c:pt>
                <c:pt idx="47">
                  <c:v>130.13</c:v>
                </c:pt>
              </c:numCache>
            </c:numRef>
          </c:val>
          <c:smooth val="0"/>
          <c:extLst>
            <c:ext xmlns:c16="http://schemas.microsoft.com/office/drawing/2014/chart" uri="{C3380CC4-5D6E-409C-BE32-E72D297353CC}">
              <c16:uniqueId val="{00000002-00D7-45A5-BE3B-865885CAE4E4}"/>
            </c:ext>
          </c:extLst>
        </c:ser>
        <c:ser>
          <c:idx val="3"/>
          <c:order val="3"/>
          <c:tx>
            <c:strRef>
              <c:f>'Special Purchase Price (STP) '!$F$27</c:f>
              <c:strCache>
                <c:ptCount val="1"/>
                <c:pt idx="0">
                  <c:v>Biomass</c:v>
                </c:pt>
              </c:strCache>
            </c:strRef>
          </c:tx>
          <c:spPr>
            <a:ln w="28575" cap="rnd">
              <a:solidFill>
                <a:schemeClr val="bg2">
                  <a:lumMod val="25000"/>
                </a:schemeClr>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F$28:$F$75</c:f>
              <c:numCache>
                <c:formatCode>General</c:formatCode>
                <c:ptCount val="48"/>
                <c:pt idx="0">
                  <c:v>54.79</c:v>
                </c:pt>
                <c:pt idx="1">
                  <c:v>52.4</c:v>
                </c:pt>
                <c:pt idx="2">
                  <c:v>59.04</c:v>
                </c:pt>
                <c:pt idx="3">
                  <c:v>65.34</c:v>
                </c:pt>
                <c:pt idx="4">
                  <c:v>64.98</c:v>
                </c:pt>
                <c:pt idx="5">
                  <c:v>87.31</c:v>
                </c:pt>
                <c:pt idx="6">
                  <c:v>104.31</c:v>
                </c:pt>
                <c:pt idx="7">
                  <c:v>126.5</c:v>
                </c:pt>
                <c:pt idx="8">
                  <c:v>137.29</c:v>
                </c:pt>
                <c:pt idx="9">
                  <c:v>204.02</c:v>
                </c:pt>
                <c:pt idx="10">
                  <c:v>236.36</c:v>
                </c:pt>
                <c:pt idx="11">
                  <c:v>247.316</c:v>
                </c:pt>
                <c:pt idx="12">
                  <c:v>235.38</c:v>
                </c:pt>
                <c:pt idx="13">
                  <c:v>217.17</c:v>
                </c:pt>
                <c:pt idx="14">
                  <c:v>282.5</c:v>
                </c:pt>
                <c:pt idx="15">
                  <c:v>255.8</c:v>
                </c:pt>
                <c:pt idx="16">
                  <c:v>229.61</c:v>
                </c:pt>
                <c:pt idx="17">
                  <c:v>248.97</c:v>
                </c:pt>
                <c:pt idx="18">
                  <c:v>352.79</c:v>
                </c:pt>
                <c:pt idx="19">
                  <c:v>85</c:v>
                </c:pt>
                <c:pt idx="20">
                  <c:v>84.93</c:v>
                </c:pt>
                <c:pt idx="21">
                  <c:v>84.83</c:v>
                </c:pt>
                <c:pt idx="22">
                  <c:v>84.88</c:v>
                </c:pt>
                <c:pt idx="23">
                  <c:v>83.04</c:v>
                </c:pt>
                <c:pt idx="24">
                  <c:v>81.99</c:v>
                </c:pt>
                <c:pt idx="25">
                  <c:v>84.06</c:v>
                </c:pt>
                <c:pt idx="26">
                  <c:v>81.91</c:v>
                </c:pt>
                <c:pt idx="27">
                  <c:v>82.28</c:v>
                </c:pt>
                <c:pt idx="28">
                  <c:v>80.819999999999993</c:v>
                </c:pt>
                <c:pt idx="29">
                  <c:v>78.22</c:v>
                </c:pt>
                <c:pt idx="30">
                  <c:v>83.68</c:v>
                </c:pt>
                <c:pt idx="31">
                  <c:v>81.52</c:v>
                </c:pt>
                <c:pt idx="32">
                  <c:v>80.98</c:v>
                </c:pt>
                <c:pt idx="33">
                  <c:v>80.459999999999994</c:v>
                </c:pt>
                <c:pt idx="34">
                  <c:v>77.510000000000005</c:v>
                </c:pt>
                <c:pt idx="35">
                  <c:v>80.88</c:v>
                </c:pt>
                <c:pt idx="36">
                  <c:v>96.36</c:v>
                </c:pt>
                <c:pt idx="37">
                  <c:v>77.12</c:v>
                </c:pt>
                <c:pt idx="38">
                  <c:v>73.81</c:v>
                </c:pt>
                <c:pt idx="39">
                  <c:v>68.819999999999993</c:v>
                </c:pt>
                <c:pt idx="40">
                  <c:v>89.09</c:v>
                </c:pt>
                <c:pt idx="41">
                  <c:v>107.35</c:v>
                </c:pt>
                <c:pt idx="42">
                  <c:v>150.91999999999999</c:v>
                </c:pt>
                <c:pt idx="43">
                  <c:v>140.96</c:v>
                </c:pt>
                <c:pt idx="44">
                  <c:v>127.7</c:v>
                </c:pt>
                <c:pt idx="45">
                  <c:v>101.54</c:v>
                </c:pt>
                <c:pt idx="46">
                  <c:v>150.86000000000001</c:v>
                </c:pt>
                <c:pt idx="47">
                  <c:v>136.47</c:v>
                </c:pt>
              </c:numCache>
            </c:numRef>
          </c:val>
          <c:smooth val="0"/>
          <c:extLst>
            <c:ext xmlns:c16="http://schemas.microsoft.com/office/drawing/2014/chart" uri="{C3380CC4-5D6E-409C-BE32-E72D297353CC}">
              <c16:uniqueId val="{00000003-00D7-45A5-BE3B-865885CAE4E4}"/>
            </c:ext>
          </c:extLst>
        </c:ser>
        <c:ser>
          <c:idx val="4"/>
          <c:order val="4"/>
          <c:tx>
            <c:strRef>
              <c:f>'Special Purchase Price (STP) '!$G$27</c:f>
              <c:strCache>
                <c:ptCount val="1"/>
                <c:pt idx="0">
                  <c:v>CHP</c:v>
                </c:pt>
              </c:strCache>
            </c:strRef>
          </c:tx>
          <c:spPr>
            <a:ln w="28575" cap="rnd">
              <a:solidFill>
                <a:srgbClr val="C00000"/>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G$28:$G$75</c:f>
              <c:numCache>
                <c:formatCode>General</c:formatCode>
                <c:ptCount val="48"/>
                <c:pt idx="0">
                  <c:v>54.79</c:v>
                </c:pt>
                <c:pt idx="1">
                  <c:v>52.4</c:v>
                </c:pt>
                <c:pt idx="2">
                  <c:v>59.04</c:v>
                </c:pt>
                <c:pt idx="3">
                  <c:v>65.34</c:v>
                </c:pt>
                <c:pt idx="4">
                  <c:v>64.98</c:v>
                </c:pt>
                <c:pt idx="5">
                  <c:v>87.31</c:v>
                </c:pt>
                <c:pt idx="6">
                  <c:v>104.31</c:v>
                </c:pt>
                <c:pt idx="7">
                  <c:v>126.5</c:v>
                </c:pt>
                <c:pt idx="8">
                  <c:v>137.29</c:v>
                </c:pt>
                <c:pt idx="9">
                  <c:v>204.02</c:v>
                </c:pt>
                <c:pt idx="10">
                  <c:v>236.36</c:v>
                </c:pt>
                <c:pt idx="11">
                  <c:v>247.16</c:v>
                </c:pt>
                <c:pt idx="12">
                  <c:v>235.38</c:v>
                </c:pt>
                <c:pt idx="13">
                  <c:v>217.17</c:v>
                </c:pt>
                <c:pt idx="14">
                  <c:v>282.5</c:v>
                </c:pt>
                <c:pt idx="15">
                  <c:v>255.8</c:v>
                </c:pt>
                <c:pt idx="16">
                  <c:v>229.61</c:v>
                </c:pt>
                <c:pt idx="17">
                  <c:v>248.97</c:v>
                </c:pt>
                <c:pt idx="18">
                  <c:v>352.79</c:v>
                </c:pt>
                <c:pt idx="19">
                  <c:v>85</c:v>
                </c:pt>
                <c:pt idx="20">
                  <c:v>84.92</c:v>
                </c:pt>
                <c:pt idx="21">
                  <c:v>84.83</c:v>
                </c:pt>
                <c:pt idx="22">
                  <c:v>84.88</c:v>
                </c:pt>
                <c:pt idx="23">
                  <c:v>83.04</c:v>
                </c:pt>
                <c:pt idx="24">
                  <c:v>81.99</c:v>
                </c:pt>
                <c:pt idx="25">
                  <c:v>84.06</c:v>
                </c:pt>
                <c:pt idx="26">
                  <c:v>81.91</c:v>
                </c:pt>
                <c:pt idx="27">
                  <c:v>82.28</c:v>
                </c:pt>
                <c:pt idx="28">
                  <c:v>80.819999999999993</c:v>
                </c:pt>
                <c:pt idx="29">
                  <c:v>78.22</c:v>
                </c:pt>
                <c:pt idx="30">
                  <c:v>83.68</c:v>
                </c:pt>
                <c:pt idx="31">
                  <c:v>81.52</c:v>
                </c:pt>
                <c:pt idx="32">
                  <c:v>80.98</c:v>
                </c:pt>
                <c:pt idx="33">
                  <c:v>80.459999999999994</c:v>
                </c:pt>
                <c:pt idx="34">
                  <c:v>77.510000000000005</c:v>
                </c:pt>
                <c:pt idx="35">
                  <c:v>80.88</c:v>
                </c:pt>
                <c:pt idx="36">
                  <c:v>96.36</c:v>
                </c:pt>
                <c:pt idx="37">
                  <c:v>77.12</c:v>
                </c:pt>
                <c:pt idx="38">
                  <c:v>73.81</c:v>
                </c:pt>
                <c:pt idx="39">
                  <c:v>68.819999999999993</c:v>
                </c:pt>
                <c:pt idx="40">
                  <c:v>89.09</c:v>
                </c:pt>
                <c:pt idx="41">
                  <c:v>107.35</c:v>
                </c:pt>
                <c:pt idx="42">
                  <c:v>150.91999999999999</c:v>
                </c:pt>
                <c:pt idx="43">
                  <c:v>140.96</c:v>
                </c:pt>
                <c:pt idx="44">
                  <c:v>127.7</c:v>
                </c:pt>
                <c:pt idx="45">
                  <c:v>101.54</c:v>
                </c:pt>
                <c:pt idx="46">
                  <c:v>150.86000000000001</c:v>
                </c:pt>
                <c:pt idx="47">
                  <c:v>136.47</c:v>
                </c:pt>
              </c:numCache>
            </c:numRef>
          </c:val>
          <c:smooth val="0"/>
          <c:extLst>
            <c:ext xmlns:c16="http://schemas.microsoft.com/office/drawing/2014/chart" uri="{C3380CC4-5D6E-409C-BE32-E72D297353CC}">
              <c16:uniqueId val="{00000004-00D7-45A5-BE3B-865885CAE4E4}"/>
            </c:ext>
          </c:extLst>
        </c:ser>
        <c:dLbls>
          <c:showLegendKey val="0"/>
          <c:showVal val="0"/>
          <c:showCatName val="0"/>
          <c:showSerName val="0"/>
          <c:showPercent val="0"/>
          <c:showBubbleSize val="0"/>
        </c:dLbls>
        <c:smooth val="0"/>
        <c:axId val="1649047248"/>
        <c:axId val="1649048208"/>
      </c:lineChart>
      <c:catAx>
        <c:axId val="164904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49048208"/>
        <c:crosses val="autoZero"/>
        <c:auto val="1"/>
        <c:lblAlgn val="ctr"/>
        <c:lblOffset val="100"/>
        <c:noMultiLvlLbl val="0"/>
      </c:catAx>
      <c:valAx>
        <c:axId val="1649048208"/>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49047248"/>
        <c:crosses val="autoZero"/>
        <c:crossBetween val="midCat"/>
      </c:valAx>
      <c:spPr>
        <a:noFill/>
        <a:ln>
          <a:noFill/>
        </a:ln>
        <a:effectLst/>
      </c:spPr>
    </c:plotArea>
    <c:legend>
      <c:legendPos val="t"/>
      <c:layout>
        <c:manualLayout>
          <c:xMode val="edge"/>
          <c:yMode val="edge"/>
          <c:x val="0.50117051452851458"/>
          <c:y val="6.8296109109171832E-2"/>
          <c:w val="0.47719234230215446"/>
          <c:h val="0.2288915950741982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evenue RES GR'!$A$3:$A$8</cx:f>
        <cx:lvl ptCount="6">
          <cx:pt idx="0">Wind</cx:pt>
          <cx:pt idx="1">Solar PV</cx:pt>
          <cx:pt idx="2">Rooftop PV</cx:pt>
          <cx:pt idx="3">Small Hydro</cx:pt>
          <cx:pt idx="4">Biomass-Biogas</cx:pt>
          <cx:pt idx="5">CHP</cx:pt>
        </cx:lvl>
      </cx:strDim>
      <cx:numDim type="size">
        <cx:f>'Revenue RES GR'!$C$3:$C$8</cx:f>
        <cx:lvl ptCount="6" formatCode="General">
          <cx:pt idx="0">0.31319669183746857</cx:pt>
          <cx:pt idx="1">0.50151538501053061</cx:pt>
          <cx:pt idx="2">0.09816612729234088</cx:pt>
          <cx:pt idx="3">0.019211999794524065</cx:pt>
          <cx:pt idx="4">0.048132737453125803</cx:pt>
          <cx:pt idx="5">0.019777058612010068</cx:pt>
        </cx:lvl>
      </cx:numDim>
    </cx:data>
  </cx:chartData>
  <cx:chart>
    <cx:plotArea>
      <cx:plotAreaRegion>
        <cx:series layoutId="treemap" uniqueId="{F6423A6E-6BCE-4F38-9934-970B3050757A}">
          <cx:dataPt idx="0">
            <cx:spPr>
              <a:solidFill>
                <a:srgbClr val="126F05"/>
              </a:solidFill>
            </cx:spPr>
          </cx:dataPt>
          <cx:dataPt idx="1">
            <cx:spPr>
              <a:solidFill>
                <a:srgbClr val="FFC000"/>
              </a:solidFill>
            </cx:spPr>
          </cx:dataPt>
          <cx:dataPt idx="2">
            <cx:spPr>
              <a:solidFill>
                <a:prstClr val="black"/>
              </a:solidFill>
            </cx:spPr>
          </cx:dataPt>
          <cx:dataPt idx="3">
            <cx:spPr>
              <a:solidFill>
                <a:srgbClr val="00B0F0"/>
              </a:solidFill>
            </cx:spPr>
          </cx:dataPt>
          <cx:dataPt idx="4">
            <cx:spPr>
              <a:solidFill>
                <a:srgbClr val="E7E6E6">
                  <a:lumMod val="25000"/>
                </a:srgbClr>
              </a:solidFill>
            </cx:spPr>
          </cx:dataPt>
          <cx:dataPt idx="5">
            <cx:spPr>
              <a:solidFill>
                <a:srgbClr val="C00000"/>
              </a:solidFill>
            </cx:spPr>
          </cx:dataPt>
          <cx:dataLabels>
            <cx:txPr>
              <a:bodyPr spcFirstLastPara="1" vertOverflow="ellipsis" horzOverflow="overflow" wrap="square" lIns="0" tIns="0" rIns="0" bIns="0" anchor="ctr" anchorCtr="1"/>
              <a:lstStyle/>
              <a:p>
                <a:pPr algn="ctr" rtl="0">
                  <a:defRPr sz="800">
                    <a:solidFill>
                      <a:schemeClr val="bg1"/>
                    </a:solidFill>
                    <a:latin typeface="Verdana" panose="020B0604030504040204" pitchFamily="34" charset="0"/>
                    <a:ea typeface="Verdana" panose="020B0604030504040204" pitchFamily="34" charset="0"/>
                    <a:cs typeface="Verdana" panose="020B0604030504040204" pitchFamily="34" charset="0"/>
                  </a:defRPr>
                </a:pPr>
                <a:endParaRPr lang="en-US" sz="800" b="0" i="0" u="none" strike="noStrike" kern="1200" baseline="0">
                  <a:solidFill>
                    <a:schemeClr val="bg1"/>
                  </a:solidFill>
                  <a:latin typeface="Verdana" panose="020B0604030504040204" pitchFamily="34" charset="0"/>
                  <a:ea typeface="Verdana" panose="020B0604030504040204" pitchFamily="34" charset="0"/>
                </a:endParaRPr>
              </a:p>
            </cx:txPr>
            <cx:visibility seriesName="0" categoryName="1" value="0"/>
            <cx:dataLabel idx="3">
              <cx:txPr>
                <a:bodyPr spcFirstLastPara="1" vertOverflow="ellipsis" horzOverflow="overflow" wrap="square" lIns="0" tIns="0" rIns="0" bIns="0" anchor="ctr" anchorCtr="1"/>
                <a:lstStyle/>
                <a:p>
                  <a:pPr algn="ctr" rtl="0">
                    <a:defRPr sz="600"/>
                  </a:pPr>
                  <a:r>
                    <a:rPr lang="en-US" sz="600" b="0" i="0" u="none" strike="noStrike" kern="1200" baseline="0">
                      <a:solidFill>
                        <a:schemeClr val="bg1"/>
                      </a:solidFill>
                      <a:latin typeface="Verdana" panose="020B0604030504040204" pitchFamily="34" charset="0"/>
                      <a:ea typeface="Verdana" panose="020B0604030504040204" pitchFamily="34" charset="0"/>
                    </a:rPr>
                    <a:t>Small Hydro</a:t>
                  </a:r>
                </a:p>
              </cx:txPr>
              <cx:visibility seriesName="0" categoryName="1" value="0"/>
            </cx:dataLabel>
          </cx:dataLabels>
          <cx:dataId val="0"/>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9">
          <cx:pt idx="0">217</cx:pt>
          <cx:pt idx="1">94</cx:pt>
          <cx:pt idx="2">84</cx:pt>
          <cx:pt idx="3">118</cx:pt>
          <cx:pt idx="4">98</cx:pt>
          <cx:pt idx="5">221</cx:pt>
          <cx:pt idx="6">191</cx:pt>
          <cx:pt idx="7">200</cx:pt>
          <cx:pt idx="8">176</cx:pt>
        </cx:lvl>
      </cx:strDim>
      <cx:strDim type="cat">
        <cx:f>PPAs!$A$78:$A$86</cx:f>
        <cx:nf>PPAs!$A$77</cx:nf>
        <cx:lvl ptCount="9" name="Country ">
          <cx:pt idx="0">Spain</cx:pt>
          <cx:pt idx="1">Germany</cx:pt>
          <cx:pt idx="2">France</cx:pt>
          <cx:pt idx="3">Italy</cx:pt>
          <cx:pt idx="4">Greece</cx:pt>
          <cx:pt idx="5">Sweden</cx:pt>
          <cx:pt idx="6">Poland</cx:pt>
          <cx:pt idx="7">Romania</cx:pt>
          <cx:pt idx="8">Netherlands</cx:pt>
        </cx:lvl>
      </cx:strDim>
      <cx:numDim type="colorVal">
        <cx:f>PPAs!$B$78:$B$86</cx:f>
        <cx:nf>PPAs!$B$77</cx:nf>
        <cx:lvl ptCount="9" formatCode="General" name="Traded Volumes">
          <cx:pt idx="0">4.6600000000000001</cx:pt>
          <cx:pt idx="1">2.04</cx:pt>
          <cx:pt idx="2">1.48</cx:pt>
          <cx:pt idx="3">1.03</cx:pt>
          <cx:pt idx="4">0.96999999999999997</cx:pt>
          <cx:pt idx="5">0.84999999999999998</cx:pt>
          <cx:pt idx="6">0.69999999999999996</cx:pt>
          <cx:pt idx="7">0.46000000000000002</cx:pt>
          <cx:pt idx="8">0.39000000000000001</cx:pt>
        </cx:lvl>
      </cx:numDim>
    </cx:data>
  </cx:chartData>
  <cx:chart>
    <cx:plotArea>
      <cx:plotAreaRegion>
        <cx:series layoutId="regionMap" uniqueId="{FB707245-B2AE-4793-8043-EE697D02352D}">
          <cx:tx>
            <cx:txData>
              <cx:f>PPAs!$B$77</cx:f>
              <cx:v>Traded Volumes</cx:v>
            </cx:txData>
          </cx:tx>
          <cx:spPr>
            <a:solidFill>
              <a:srgbClr val="00B050"/>
            </a:solidFill>
          </cx:spPr>
          <cx:dataLabels>
            <cx:txPr>
              <a:bodyPr spcFirstLastPara="1" vertOverflow="ellipsis" horzOverflow="overflow" wrap="square" lIns="0" tIns="0" rIns="0" bIns="0" anchor="ctr" anchorCtr="1"/>
              <a:lstStyle/>
              <a:p>
                <a:pPr algn="ctr" rtl="0">
                  <a:defRPr sz="800">
                    <a:latin typeface="Verdana" panose="020B0604030504040204" pitchFamily="34" charset="0"/>
                    <a:ea typeface="Verdana" panose="020B0604030504040204" pitchFamily="34" charset="0"/>
                    <a:cs typeface="Verdana" panose="020B0604030504040204" pitchFamily="34" charset="0"/>
                  </a:defRPr>
                </a:pPr>
                <a:endParaRPr lang="en-US" sz="800" b="0" i="0" u="none" strike="noStrike" baseline="0">
                  <a:solidFill>
                    <a:prstClr val="black">
                      <a:lumMod val="65000"/>
                      <a:lumOff val="35000"/>
                    </a:prstClr>
                  </a:solidFill>
                  <a:latin typeface="Verdana" panose="020B0604030504040204" pitchFamily="34" charset="0"/>
                  <a:ea typeface="Verdana" panose="020B0604030504040204" pitchFamily="34" charset="0"/>
                </a:endParaRPr>
              </a:p>
            </cx:txPr>
            <cx:dataLabel idx="0">
              <cx:txPr>
                <a:bodyPr spcFirstLastPara="1" vertOverflow="ellipsis" horzOverflow="overflow" wrap="square" lIns="0" tIns="0" rIns="0" bIns="0" anchor="ctr" anchorCtr="1"/>
                <a:lstStyle/>
                <a:p>
                  <a:pPr algn="ctr" rtl="0">
                    <a:defRPr>
                      <a:solidFill>
                        <a:schemeClr val="bg1"/>
                      </a:solidFill>
                    </a:defRPr>
                  </a:pPr>
                  <a:r>
                    <a:rPr lang="en-US" sz="800" b="0" i="0" u="none" strike="noStrike" baseline="0">
                      <a:solidFill>
                        <a:schemeClr val="bg1"/>
                      </a:solidFill>
                      <a:latin typeface="Verdana" panose="020B0604030504040204" pitchFamily="34" charset="0"/>
                      <a:ea typeface="Verdana" panose="020B0604030504040204" pitchFamily="34" charset="0"/>
                    </a:rPr>
                    <a:t>4.66</a:t>
                  </a:r>
                </a:p>
              </cx:txPr>
            </cx:dataLabel>
            <cx:dataLabel idx="4">
              <cx:txPr>
                <a:bodyPr spcFirstLastPara="1" vertOverflow="ellipsis" horzOverflow="overflow" wrap="square" lIns="0" tIns="0" rIns="0" bIns="0" anchor="ctr" anchorCtr="1"/>
                <a:lstStyle/>
                <a:p>
                  <a:pPr algn="ctr" rtl="0">
                    <a:defRPr sz="600"/>
                  </a:pPr>
                  <a:r>
                    <a:rPr lang="en-US" sz="600" b="0" i="0" u="none" strike="noStrike" baseline="0">
                      <a:solidFill>
                        <a:prstClr val="black">
                          <a:lumMod val="65000"/>
                          <a:lumOff val="35000"/>
                        </a:prstClr>
                      </a:solidFill>
                      <a:latin typeface="Verdana" panose="020B0604030504040204" pitchFamily="34" charset="0"/>
                      <a:ea typeface="Verdana" panose="020B0604030504040204" pitchFamily="34" charset="0"/>
                    </a:rPr>
                    <a:t>0.97</a:t>
                  </a:r>
                </a:p>
              </cx:txPr>
            </cx:dataLabel>
          </cx:dataLabels>
          <cx:dataId val="0"/>
          <cx:layoutPr>
            <cx:geography viewedRegionType="dataOnly" cultureLanguage="en-US" cultureRegion="GR" attribution="Powered by Bing">
              <cx:geoCache provider="{E9337A44-BEBE-4D9F-B70C-5C5E7DAFC167}">
                <cx:binary>BMFRCoAgDADQq4gHcBV9SXUXWTMFdeEG7fi9d6BFbJSms96GRLTTF9U3AggW6klCrzhZOGtA7sA5
VyS4Z/rqeGBb1h2wpKlk3sH1AwAA//8=</cx:binary>
              </cx:geoCache>
            </cx:geography>
          </cx:layoutPr>
          <cx:valueColors>
            <cx:minColor>
              <a:schemeClr val="accent6">
                <a:lumMod val="40000"/>
                <a:lumOff val="60000"/>
              </a:schemeClr>
            </cx:minColor>
            <cx:maxColor>
              <a:srgbClr val="00B050"/>
            </cx:maxColor>
          </cx:valueColors>
        </cx:series>
      </cx:plotAreaRegion>
    </cx:plotArea>
  </cx:chart>
  <cx:spPr>
    <a:no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CD3F25-3CE1-2C61-9533-123BBF8367C7}"/>
              </a:ext>
            </a:extLst>
          </p:cNvPr>
          <p:cNvSpPr>
            <a:spLocks noGrp="1"/>
          </p:cNvSpPr>
          <p:nvPr>
            <p:ph type="dt" sz="quarter" idx="1"/>
          </p:nvPr>
        </p:nvSpPr>
        <p:spPr bwMode="gray">
          <a:xfrm>
            <a:off x="7039665" y="6568018"/>
            <a:ext cx="829693" cy="123111"/>
          </a:xfrm>
          <a:prstGeom prst="rect">
            <a:avLst/>
          </a:prstGeom>
        </p:spPr>
        <p:txBody>
          <a:bodyPr vert="horz" wrap="square" lIns="0" tIns="0" rIns="0" bIns="0" rtlCol="0" anchor="b">
            <a:spAutoFit/>
          </a:bodyPr>
          <a:lstStyle>
            <a:lvl1pPr algn="r">
              <a:defRPr sz="1200"/>
            </a:lvl1pPr>
          </a:lstStyle>
          <a:p>
            <a:fld id="{DE6995F4-730C-49D9-B2D4-3945B42035CB}" type="datetime1">
              <a:rPr lang="en-US" sz="800"/>
              <a:t>6/6/2025</a:t>
            </a:fld>
            <a:endParaRPr lang="en-US" sz="800"/>
          </a:p>
        </p:txBody>
      </p:sp>
      <p:sp>
        <p:nvSpPr>
          <p:cNvPr id="4" name="Footer Placeholder 3">
            <a:extLst>
              <a:ext uri="{FF2B5EF4-FFF2-40B4-BE49-F238E27FC236}">
                <a16:creationId xmlns:a16="http://schemas.microsoft.com/office/drawing/2014/main" id="{5A83FAA6-92D4-E1FF-C344-C76A73B83AF3}"/>
              </a:ext>
            </a:extLst>
          </p:cNvPr>
          <p:cNvSpPr>
            <a:spLocks noGrp="1"/>
          </p:cNvSpPr>
          <p:nvPr>
            <p:ph type="ftr" sz="quarter" idx="2"/>
          </p:nvPr>
        </p:nvSpPr>
        <p:spPr bwMode="gray">
          <a:xfrm>
            <a:off x="646154" y="6568018"/>
            <a:ext cx="5914990" cy="123111"/>
          </a:xfrm>
          <a:prstGeom prst="rect">
            <a:avLst/>
          </a:prstGeom>
        </p:spPr>
        <p:txBody>
          <a:bodyPr vert="horz" wrap="square" lIns="0" tIns="0" rIns="0" bIns="0" rtlCol="0" anchor="b">
            <a:spAutoFit/>
          </a:bodyPr>
          <a:lstStyle>
            <a:lvl1pPr algn="l">
              <a:defRPr sz="1200"/>
            </a:lvl1pPr>
          </a:lstStyle>
          <a:p>
            <a:r>
              <a:rPr lang="en-US" sz="800"/>
              <a:t>Placeholder for the presentation title (Insert → header and footer)</a:t>
            </a:r>
          </a:p>
        </p:txBody>
      </p:sp>
      <p:sp>
        <p:nvSpPr>
          <p:cNvPr id="5" name="Slide Number Placeholder 4">
            <a:extLst>
              <a:ext uri="{FF2B5EF4-FFF2-40B4-BE49-F238E27FC236}">
                <a16:creationId xmlns:a16="http://schemas.microsoft.com/office/drawing/2014/main" id="{E6FF31FE-E129-09EE-F8DA-E2811A50AF6A}"/>
              </a:ext>
            </a:extLst>
          </p:cNvPr>
          <p:cNvSpPr>
            <a:spLocks noGrp="1"/>
          </p:cNvSpPr>
          <p:nvPr>
            <p:ph type="sldNum" sz="quarter" idx="3"/>
          </p:nvPr>
        </p:nvSpPr>
        <p:spPr bwMode="gray">
          <a:xfrm>
            <a:off x="8347879" y="6568018"/>
            <a:ext cx="302366" cy="123111"/>
          </a:xfrm>
          <a:prstGeom prst="rect">
            <a:avLst/>
          </a:prstGeom>
        </p:spPr>
        <p:txBody>
          <a:bodyPr vert="horz" wrap="square" lIns="0" tIns="0" rIns="0" bIns="0" rtlCol="0" anchor="b">
            <a:spAutoFit/>
          </a:bodyPr>
          <a:lstStyle>
            <a:lvl1pPr algn="r">
              <a:defRPr sz="1200"/>
            </a:lvl1pPr>
          </a:lstStyle>
          <a:p>
            <a:fld id="{98EBEA35-023B-48CB-A29D-348D5F0E8E46}" type="slidenum">
              <a:rPr lang="en-US" sz="800"/>
              <a:t>‹#›</a:t>
            </a:fld>
            <a:endParaRPr lang="en-US" sz="800"/>
          </a:p>
        </p:txBody>
      </p:sp>
      <p:pic>
        <p:nvPicPr>
          <p:cNvPr id="6" name="Graphic 5">
            <a:extLst>
              <a:ext uri="{FF2B5EF4-FFF2-40B4-BE49-F238E27FC236}">
                <a16:creationId xmlns:a16="http://schemas.microsoft.com/office/drawing/2014/main" id="{B4CB49C8-6B36-C077-4DAF-C810FBC02BB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646157" y="275641"/>
            <a:ext cx="1659384" cy="269750"/>
          </a:xfrm>
          <a:prstGeom prst="rect">
            <a:avLst/>
          </a:prstGeom>
        </p:spPr>
      </p:pic>
    </p:spTree>
    <p:extLst>
      <p:ext uri="{BB962C8B-B14F-4D97-AF65-F5344CB8AC3E}">
        <p14:creationId xmlns:p14="http://schemas.microsoft.com/office/powerpoint/2010/main" val="233959613"/>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orient="horz" pos="2208" userDrawn="1">
          <p15:clr>
            <a:srgbClr val="F26B43"/>
          </p15:clr>
        </p15:guide>
        <p15:guide id="2" pos="292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bwMode="gray">
          <a:xfrm>
            <a:off x="7039665" y="6568018"/>
            <a:ext cx="829693" cy="123111"/>
          </a:xfrm>
          <a:prstGeom prst="rect">
            <a:avLst/>
          </a:prstGeom>
        </p:spPr>
        <p:txBody>
          <a:bodyPr vert="horz" wrap="square" lIns="0" tIns="0" rIns="0" bIns="0" rtlCol="0" anchor="b">
            <a:spAutoFit/>
          </a:bodyPr>
          <a:lstStyle>
            <a:lvl1pPr algn="r">
              <a:defRPr sz="800"/>
            </a:lvl1pPr>
          </a:lstStyle>
          <a:p>
            <a:fld id="{6607EEFA-5124-401B-966B-54180F6B453D}" type="datetime1">
              <a:rPr lang="en-US" smtClean="0"/>
              <a:t>6/6/2025</a:t>
            </a:fld>
            <a:endParaRPr lang="en-US"/>
          </a:p>
        </p:txBody>
      </p:sp>
      <p:sp>
        <p:nvSpPr>
          <p:cNvPr id="4" name="Slide Image Placeholder 3"/>
          <p:cNvSpPr>
            <a:spLocks noGrp="1" noRot="1" noChangeAspect="1"/>
          </p:cNvSpPr>
          <p:nvPr>
            <p:ph type="sldImg" idx="2"/>
          </p:nvPr>
        </p:nvSpPr>
        <p:spPr bwMode="gray">
          <a:xfrm>
            <a:off x="2546350"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bwMode="gray">
          <a:xfrm>
            <a:off x="929640" y="3373755"/>
            <a:ext cx="7437120" cy="2760345"/>
          </a:xfrm>
          <a:prstGeom prst="rect">
            <a:avLst/>
          </a:prstGeom>
        </p:spPr>
        <p:txBody>
          <a:bodyPr vert="horz" lIns="0" tIns="0" rIns="0" bIns="0" rtlCol="0"/>
          <a:lstStyle/>
          <a:p>
            <a:pPr marL="0" marR="0" lvl="0" indent="0" algn="l" defTabSz="931774" rtl="0" eaLnBrk="1" fontAlgn="auto" latinLnBrk="0" hangingPunct="1">
              <a:lnSpc>
                <a:spcPct val="100000"/>
              </a:lnSpc>
              <a:spcBef>
                <a:spcPts val="1223"/>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32A0"/>
                </a:solidFill>
                <a:effectLst/>
                <a:uLnTx/>
                <a:uFillTx/>
                <a:latin typeface="The Wave Sans TT"/>
                <a:ea typeface="+mn-ea"/>
                <a:cs typeface="+mn-cs"/>
              </a:rPr>
              <a:t>Click to edit text</a:t>
            </a:r>
          </a:p>
          <a:p>
            <a:pPr marL="0" marR="0" lvl="1" indent="0" algn="l" defTabSz="931774" rtl="0" eaLnBrk="1" fontAlgn="auto" latinLnBrk="0" hangingPunct="1">
              <a:lnSpc>
                <a:spcPct val="100000"/>
              </a:lnSpc>
              <a:spcBef>
                <a:spcPts val="815"/>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Second level</a:t>
            </a:r>
          </a:p>
          <a:p>
            <a:pPr marL="183420" marR="0" lvl="2" indent="-183420" algn="l" defTabSz="931774" rtl="0" eaLnBrk="1" fontAlgn="auto" latinLnBrk="0" hangingPunct="1">
              <a:lnSpc>
                <a:spcPct val="100000"/>
              </a:lnSpc>
              <a:spcBef>
                <a:spcPts val="611"/>
              </a:spcBef>
              <a:spcAft>
                <a:spcPts val="0"/>
              </a:spcAft>
              <a:buClr>
                <a:srgbClr val="0032A0"/>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Third level</a:t>
            </a:r>
          </a:p>
          <a:p>
            <a:pPr marL="366840" marR="0" lvl="3"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ourth level</a:t>
            </a:r>
          </a:p>
          <a:p>
            <a:pPr marL="550260" marR="0" lvl="4"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ifth level</a:t>
            </a:r>
          </a:p>
        </p:txBody>
      </p:sp>
      <p:sp>
        <p:nvSpPr>
          <p:cNvPr id="6" name="Footer Placeholder 5"/>
          <p:cNvSpPr>
            <a:spLocks noGrp="1"/>
          </p:cNvSpPr>
          <p:nvPr>
            <p:ph type="ftr" sz="quarter" idx="4"/>
          </p:nvPr>
        </p:nvSpPr>
        <p:spPr bwMode="gray">
          <a:xfrm>
            <a:off x="646154" y="6568018"/>
            <a:ext cx="5914990" cy="123111"/>
          </a:xfrm>
          <a:prstGeom prst="rect">
            <a:avLst/>
          </a:prstGeom>
        </p:spPr>
        <p:txBody>
          <a:bodyPr vert="horz" wrap="square" lIns="0" tIns="0" rIns="0" bIns="0" rtlCol="0" anchor="b">
            <a:spAutoFit/>
          </a:bodyPr>
          <a:lstStyle>
            <a:lvl1pPr algn="l">
              <a:defRPr sz="800"/>
            </a:lvl1pPr>
          </a:lstStyle>
          <a:p>
            <a:r>
              <a:rPr lang="en-US"/>
              <a:t>Placeholder for the presentation title (Insert → header and footer)</a:t>
            </a:r>
          </a:p>
        </p:txBody>
      </p:sp>
      <p:sp>
        <p:nvSpPr>
          <p:cNvPr id="7" name="Slide Number Placeholder 6"/>
          <p:cNvSpPr>
            <a:spLocks noGrp="1"/>
          </p:cNvSpPr>
          <p:nvPr>
            <p:ph type="sldNum" sz="quarter" idx="5"/>
          </p:nvPr>
        </p:nvSpPr>
        <p:spPr bwMode="gray">
          <a:xfrm>
            <a:off x="8347878" y="6568018"/>
            <a:ext cx="302366" cy="123111"/>
          </a:xfrm>
          <a:prstGeom prst="rect">
            <a:avLst/>
          </a:prstGeom>
        </p:spPr>
        <p:txBody>
          <a:bodyPr vert="horz" wrap="square" lIns="0" tIns="0" rIns="0" bIns="0" rtlCol="0" anchor="b">
            <a:spAutoFit/>
          </a:bodyPr>
          <a:lstStyle>
            <a:lvl1pPr algn="r">
              <a:defRPr sz="800"/>
            </a:lvl1pPr>
          </a:lstStyle>
          <a:p>
            <a:fld id="{F26CA750-A413-461A-ACF7-A597AE5AD928}" type="slidenum">
              <a:rPr lang="en-US" smtClean="0"/>
              <a:pPr/>
              <a:t>‹#›</a:t>
            </a:fld>
            <a:endParaRPr lang="en-US"/>
          </a:p>
        </p:txBody>
      </p:sp>
      <p:pic>
        <p:nvPicPr>
          <p:cNvPr id="11" name="Graphic 10">
            <a:extLst>
              <a:ext uri="{FF2B5EF4-FFF2-40B4-BE49-F238E27FC236}">
                <a16:creationId xmlns:a16="http://schemas.microsoft.com/office/drawing/2014/main" id="{BD4D4F09-6C68-581C-E991-45B987694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646157" y="275641"/>
            <a:ext cx="1659384" cy="269750"/>
          </a:xfrm>
          <a:prstGeom prst="rect">
            <a:avLst/>
          </a:prstGeom>
        </p:spPr>
      </p:pic>
    </p:spTree>
    <p:extLst>
      <p:ext uri="{BB962C8B-B14F-4D97-AF65-F5344CB8AC3E}">
        <p14:creationId xmlns:p14="http://schemas.microsoft.com/office/powerpoint/2010/main" val="954527445"/>
      </p:ext>
    </p:extLst>
  </p:cSld>
  <p:clrMap bg1="lt1" tx1="dk1" bg2="lt2" tx2="dk2" accent1="accent1" accent2="accent2" accent3="accent3" accent4="accent4" accent5="accent5" accent6="accent6" hlink="hlink" folHlink="folHlink"/>
  <p:hf hdr="0"/>
  <p:notesStyle>
    <a:lvl1pPr marL="0" algn="l" defTabSz="914400" rtl="0" eaLnBrk="1" latinLnBrk="0" hangingPunct="1">
      <a:lnSpc>
        <a:spcPct val="114000"/>
      </a:lnSpc>
      <a:defRPr sz="1200" b="1" kern="1200">
        <a:solidFill>
          <a:schemeClr val="tx1"/>
        </a:solidFill>
        <a:latin typeface="+mn-lt"/>
        <a:ea typeface="+mn-ea"/>
        <a:cs typeface="+mn-cs"/>
      </a:defRPr>
    </a:lvl1pPr>
    <a:lvl2pPr marL="0" indent="0" algn="l" defTabSz="914400" rtl="0" eaLnBrk="1" latinLnBrk="0" hangingPunct="1">
      <a:lnSpc>
        <a:spcPct val="114000"/>
      </a:lnSpc>
      <a:buFont typeface="Arial" panose="020B0604020202020204" pitchFamily="34" charset="0"/>
      <a:buNone/>
      <a:defRPr sz="1200" kern="1200">
        <a:solidFill>
          <a:schemeClr val="tx1"/>
        </a:solidFill>
        <a:latin typeface="+mn-lt"/>
        <a:ea typeface="+mn-ea"/>
        <a:cs typeface="+mn-cs"/>
      </a:defRPr>
    </a:lvl2pPr>
    <a:lvl3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3pPr>
    <a:lvl4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4pPr>
    <a:lvl5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5pPr>
    <a:lvl6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6pPr>
    <a:lvl7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7pPr>
    <a:lvl8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8pPr>
    <a:lvl9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208" userDrawn="1">
          <p15:clr>
            <a:srgbClr val="F26B43"/>
          </p15:clr>
        </p15:guide>
        <p15:guide id="2" pos="292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a:t>
            </a:fld>
            <a:endParaRPr lang="en-US"/>
          </a:p>
        </p:txBody>
      </p:sp>
    </p:spTree>
    <p:extLst>
      <p:ext uri="{BB962C8B-B14F-4D97-AF65-F5344CB8AC3E}">
        <p14:creationId xmlns:p14="http://schemas.microsoft.com/office/powerpoint/2010/main" val="244116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5CEDE-BC1B-6831-64E0-233872B814F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447A6-8C62-801A-17A7-649ED91D55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A7C3FA-1518-254F-8776-990D75ABBC0E}"/>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CFA6F77-4BC7-1394-78E4-A13CC7EBEA9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4A92B21B-8463-A6A3-4003-F74FB5582DD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716FC55-6C83-EC39-7300-3B7C0CB41E1B}"/>
              </a:ext>
            </a:extLst>
          </p:cNvPr>
          <p:cNvSpPr>
            <a:spLocks noGrp="1"/>
          </p:cNvSpPr>
          <p:nvPr>
            <p:ph type="sldNum" sz="quarter" idx="5"/>
          </p:nvPr>
        </p:nvSpPr>
        <p:spPr/>
        <p:txBody>
          <a:bodyPr/>
          <a:lstStyle/>
          <a:p>
            <a:fld id="{F26CA750-A413-461A-ACF7-A597AE5AD928}" type="slidenum">
              <a:rPr lang="en-US" smtClean="0"/>
              <a:pPr/>
              <a:t>10</a:t>
            </a:fld>
            <a:endParaRPr lang="en-US"/>
          </a:p>
        </p:txBody>
      </p:sp>
    </p:spTree>
    <p:extLst>
      <p:ext uri="{BB962C8B-B14F-4D97-AF65-F5344CB8AC3E}">
        <p14:creationId xmlns:p14="http://schemas.microsoft.com/office/powerpoint/2010/main" val="42016135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3D807-34BA-5F37-0892-D71D1E289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66767A-69BA-0FDD-C62F-EBBA2E7D96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605337-351E-2512-C2CB-F927755D6C38}"/>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5F539C7B-4987-C3D5-A7DA-D4F142ED08A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77F32CA-F1D1-5AB8-B2DD-D230ADF194A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E5DE9FE-5397-1A00-A242-85440ED3FB22}"/>
              </a:ext>
            </a:extLst>
          </p:cNvPr>
          <p:cNvSpPr>
            <a:spLocks noGrp="1"/>
          </p:cNvSpPr>
          <p:nvPr>
            <p:ph type="sldNum" sz="quarter" idx="5"/>
          </p:nvPr>
        </p:nvSpPr>
        <p:spPr/>
        <p:txBody>
          <a:bodyPr/>
          <a:lstStyle/>
          <a:p>
            <a:fld id="{F26CA750-A413-461A-ACF7-A597AE5AD928}" type="slidenum">
              <a:rPr lang="en-US" smtClean="0"/>
              <a:pPr/>
              <a:t>11</a:t>
            </a:fld>
            <a:endParaRPr lang="en-US"/>
          </a:p>
        </p:txBody>
      </p:sp>
    </p:spTree>
    <p:extLst>
      <p:ext uri="{BB962C8B-B14F-4D97-AF65-F5344CB8AC3E}">
        <p14:creationId xmlns:p14="http://schemas.microsoft.com/office/powerpoint/2010/main" val="34688682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00DDE1-A565-B356-EF37-838CA775EB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25CC0DC-D93A-B529-7A19-1412827E24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1B7E01-22FF-F4DE-24EC-52446BDBC9CF}"/>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792C2D6-B448-A1CF-F26A-0A6CC08D47B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922C0B9-12CA-5153-FDB2-E69DD503183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97A150D-6166-E6D2-781C-968A7F99F13A}"/>
              </a:ext>
            </a:extLst>
          </p:cNvPr>
          <p:cNvSpPr>
            <a:spLocks noGrp="1"/>
          </p:cNvSpPr>
          <p:nvPr>
            <p:ph type="sldNum" sz="quarter" idx="5"/>
          </p:nvPr>
        </p:nvSpPr>
        <p:spPr/>
        <p:txBody>
          <a:bodyPr/>
          <a:lstStyle/>
          <a:p>
            <a:fld id="{F26CA750-A413-461A-ACF7-A597AE5AD928}" type="slidenum">
              <a:rPr lang="en-US" smtClean="0"/>
              <a:pPr/>
              <a:t>12</a:t>
            </a:fld>
            <a:endParaRPr lang="en-US"/>
          </a:p>
        </p:txBody>
      </p:sp>
    </p:spTree>
    <p:extLst>
      <p:ext uri="{BB962C8B-B14F-4D97-AF65-F5344CB8AC3E}">
        <p14:creationId xmlns:p14="http://schemas.microsoft.com/office/powerpoint/2010/main" val="1164561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3</a:t>
            </a:fld>
            <a:endParaRPr lang="en-US"/>
          </a:p>
        </p:txBody>
      </p:sp>
    </p:spTree>
    <p:extLst>
      <p:ext uri="{BB962C8B-B14F-4D97-AF65-F5344CB8AC3E}">
        <p14:creationId xmlns:p14="http://schemas.microsoft.com/office/powerpoint/2010/main" val="2988528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4</a:t>
            </a:fld>
            <a:endParaRPr lang="en-US"/>
          </a:p>
        </p:txBody>
      </p:sp>
    </p:spTree>
    <p:extLst>
      <p:ext uri="{BB962C8B-B14F-4D97-AF65-F5344CB8AC3E}">
        <p14:creationId xmlns:p14="http://schemas.microsoft.com/office/powerpoint/2010/main" val="2281547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5</a:t>
            </a:fld>
            <a:endParaRPr lang="en-US"/>
          </a:p>
        </p:txBody>
      </p:sp>
    </p:spTree>
    <p:extLst>
      <p:ext uri="{BB962C8B-B14F-4D97-AF65-F5344CB8AC3E}">
        <p14:creationId xmlns:p14="http://schemas.microsoft.com/office/powerpoint/2010/main" val="3798869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A57B7-F2C6-CCF4-A906-8130635E65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FC34A7-B83E-6872-21F4-36B3DCBA05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30EFB7-B8A6-1FDA-1719-9211E1D73B6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C73FD56-9AC0-0A76-5900-9677957A9DE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539C90D-4A9A-63D4-91FB-631AD76C945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1422E50-E02E-1143-407E-C7C303D88E5A}"/>
              </a:ext>
            </a:extLst>
          </p:cNvPr>
          <p:cNvSpPr>
            <a:spLocks noGrp="1"/>
          </p:cNvSpPr>
          <p:nvPr>
            <p:ph type="sldNum" sz="quarter" idx="5"/>
          </p:nvPr>
        </p:nvSpPr>
        <p:spPr/>
        <p:txBody>
          <a:bodyPr/>
          <a:lstStyle/>
          <a:p>
            <a:fld id="{F26CA750-A413-461A-ACF7-A597AE5AD928}" type="slidenum">
              <a:rPr lang="en-US" smtClean="0"/>
              <a:pPr/>
              <a:t>16</a:t>
            </a:fld>
            <a:endParaRPr lang="en-US"/>
          </a:p>
        </p:txBody>
      </p:sp>
    </p:spTree>
    <p:extLst>
      <p:ext uri="{BB962C8B-B14F-4D97-AF65-F5344CB8AC3E}">
        <p14:creationId xmlns:p14="http://schemas.microsoft.com/office/powerpoint/2010/main" val="3176709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CEA647-1AAE-D447-780D-4E1EBCF1916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17F9CA-DAA2-3E23-11AD-FE5685A0EF1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B03505-4DC6-5091-AA95-CE6AFA4FBD2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DF20A55-2718-CF46-C513-52A0D2C0A66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9A423AC9-464B-BB02-9D2C-BF04C43C737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CCC00BC-BBF8-BD84-4508-EE3325F2CEB6}"/>
              </a:ext>
            </a:extLst>
          </p:cNvPr>
          <p:cNvSpPr>
            <a:spLocks noGrp="1"/>
          </p:cNvSpPr>
          <p:nvPr>
            <p:ph type="sldNum" sz="quarter" idx="5"/>
          </p:nvPr>
        </p:nvSpPr>
        <p:spPr/>
        <p:txBody>
          <a:bodyPr/>
          <a:lstStyle/>
          <a:p>
            <a:fld id="{F26CA750-A413-461A-ACF7-A597AE5AD928}" type="slidenum">
              <a:rPr lang="en-US" smtClean="0"/>
              <a:pPr/>
              <a:t>17</a:t>
            </a:fld>
            <a:endParaRPr lang="en-US"/>
          </a:p>
        </p:txBody>
      </p:sp>
    </p:spTree>
    <p:extLst>
      <p:ext uri="{BB962C8B-B14F-4D97-AF65-F5344CB8AC3E}">
        <p14:creationId xmlns:p14="http://schemas.microsoft.com/office/powerpoint/2010/main" val="18966903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330A3-F4EC-6BD2-7DF4-CEB99457BC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A4FB5-CF22-F522-F6DD-BB1EABAD9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09BADE-877D-F9A0-5770-05A53901AD4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F5F3453-F06A-E359-AB1C-9F5070B1B15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5BCBEEE-0B37-E508-AA55-44D82F95F31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4187380-A09B-19FD-D5A1-95FB33440A99}"/>
              </a:ext>
            </a:extLst>
          </p:cNvPr>
          <p:cNvSpPr>
            <a:spLocks noGrp="1"/>
          </p:cNvSpPr>
          <p:nvPr>
            <p:ph type="sldNum" sz="quarter" idx="5"/>
          </p:nvPr>
        </p:nvSpPr>
        <p:spPr/>
        <p:txBody>
          <a:bodyPr/>
          <a:lstStyle/>
          <a:p>
            <a:fld id="{F26CA750-A413-461A-ACF7-A597AE5AD928}" type="slidenum">
              <a:rPr lang="en-US" smtClean="0"/>
              <a:pPr/>
              <a:t>18</a:t>
            </a:fld>
            <a:endParaRPr lang="en-US"/>
          </a:p>
        </p:txBody>
      </p:sp>
    </p:spTree>
    <p:extLst>
      <p:ext uri="{BB962C8B-B14F-4D97-AF65-F5344CB8AC3E}">
        <p14:creationId xmlns:p14="http://schemas.microsoft.com/office/powerpoint/2010/main" val="31706446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D8F989-BD13-E494-55B4-391B80E111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ECC5CE-FB09-0720-2F89-5DAADCB146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5529594-16FF-3066-C4FD-ED3C4F5AFFB3}"/>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93C99250-5303-8CE9-C4C4-644BC47DB5A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4D11A134-F684-D38B-3444-B7F475686FC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F042EB8-57E8-9B29-BA23-78D8DEF8F72E}"/>
              </a:ext>
            </a:extLst>
          </p:cNvPr>
          <p:cNvSpPr>
            <a:spLocks noGrp="1"/>
          </p:cNvSpPr>
          <p:nvPr>
            <p:ph type="sldNum" sz="quarter" idx="5"/>
          </p:nvPr>
        </p:nvSpPr>
        <p:spPr/>
        <p:txBody>
          <a:bodyPr/>
          <a:lstStyle/>
          <a:p>
            <a:fld id="{F26CA750-A413-461A-ACF7-A597AE5AD928}" type="slidenum">
              <a:rPr lang="en-US" smtClean="0"/>
              <a:pPr/>
              <a:t>19</a:t>
            </a:fld>
            <a:endParaRPr lang="en-US"/>
          </a:p>
        </p:txBody>
      </p:sp>
    </p:spTree>
    <p:extLst>
      <p:ext uri="{BB962C8B-B14F-4D97-AF65-F5344CB8AC3E}">
        <p14:creationId xmlns:p14="http://schemas.microsoft.com/office/powerpoint/2010/main" val="2334719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2</a:t>
            </a:fld>
            <a:endParaRPr lang="en-US"/>
          </a:p>
        </p:txBody>
      </p:sp>
    </p:spTree>
    <p:extLst>
      <p:ext uri="{BB962C8B-B14F-4D97-AF65-F5344CB8AC3E}">
        <p14:creationId xmlns:p14="http://schemas.microsoft.com/office/powerpoint/2010/main" val="34127690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C223A-891E-FDA6-F643-1C2BF53DF6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685A1A-4BA2-AEF1-414E-218B2AFF9E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2618BC-C0B6-09B1-62F3-966C2A276DF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5B5787A-9ABB-3DC4-20A4-8DC107F6874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44CE9C1-22F5-5EA9-53FD-FCF22078B37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72CEE1F-E3CF-F5A0-77DF-121DFDD08D9A}"/>
              </a:ext>
            </a:extLst>
          </p:cNvPr>
          <p:cNvSpPr>
            <a:spLocks noGrp="1"/>
          </p:cNvSpPr>
          <p:nvPr>
            <p:ph type="sldNum" sz="quarter" idx="5"/>
          </p:nvPr>
        </p:nvSpPr>
        <p:spPr/>
        <p:txBody>
          <a:bodyPr/>
          <a:lstStyle/>
          <a:p>
            <a:fld id="{F26CA750-A413-461A-ACF7-A597AE5AD928}" type="slidenum">
              <a:rPr lang="en-US" smtClean="0"/>
              <a:pPr/>
              <a:t>20</a:t>
            </a:fld>
            <a:endParaRPr lang="en-US"/>
          </a:p>
        </p:txBody>
      </p:sp>
    </p:spTree>
    <p:extLst>
      <p:ext uri="{BB962C8B-B14F-4D97-AF65-F5344CB8AC3E}">
        <p14:creationId xmlns:p14="http://schemas.microsoft.com/office/powerpoint/2010/main" val="1592766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6CE07-076E-4B86-A13D-9B7741BF51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903D90-4FCB-6D55-DC49-7DDD863D6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3BE20D-B2CB-3A3F-357C-A9C11E7025AB}"/>
              </a:ext>
            </a:extLst>
          </p:cNvPr>
          <p:cNvSpPr>
            <a:spLocks noGrp="1"/>
          </p:cNvSpPr>
          <p:nvPr>
            <p:ph type="body" idx="1"/>
          </p:nvPr>
        </p:nvSpPr>
        <p:spPr/>
        <p:txBody>
          <a:bodyPr/>
          <a:lstStyle/>
          <a:p>
            <a:pPr marL="285750" indent="-285750">
              <a:buClr>
                <a:srgbClr val="0F55F5"/>
              </a:buClr>
              <a:buFont typeface="Wingdings" panose="05000000000000000000" pitchFamily="2" charset="2"/>
              <a:buChar char="§"/>
            </a:pPr>
            <a:r>
              <a:rPr lang="el-GR" sz="1200" b="0" i="0">
                <a:solidFill>
                  <a:srgbClr val="252525"/>
                </a:solidFill>
                <a:effectLst/>
                <a:latin typeface="Open Sans" panose="020B0606030504020204" pitchFamily="34" charset="0"/>
              </a:rPr>
              <a:t>Οι οδηγίες της ΕΕ για ένα την απανθρακοποίηση μέχρι το 2050 έχουν ξεκάθαρο αντίκτυπο στο ηλεκτρικό μείγμα όλων των κρατών-μελών της.</a:t>
            </a:r>
          </a:p>
          <a:p>
            <a:pPr marL="285750" indent="-285750">
              <a:buClr>
                <a:srgbClr val="0F55F5"/>
              </a:buClr>
              <a:buFont typeface="Wingdings" panose="05000000000000000000" pitchFamily="2" charset="2"/>
              <a:buChar char="§"/>
            </a:pPr>
            <a:r>
              <a:rPr lang="el-GR" sz="1200" b="0">
                <a:solidFill>
                  <a:srgbClr val="252525"/>
                </a:solidFill>
                <a:latin typeface="Open Sans" panose="020B0606030504020204" pitchFamily="34" charset="0"/>
              </a:rPr>
              <a:t>Χώρες οι οποίες είχαν ήδη πυρηνικές εγκαταστάσεις συνεχίζουν να βασίζονται σε αυτές, καθώς παράγουν φθηνή ηλεκτρική ενέργεια.</a:t>
            </a:r>
          </a:p>
          <a:p>
            <a:pPr marL="285750" indent="-285750">
              <a:buClr>
                <a:srgbClr val="0F55F5"/>
              </a:buClr>
              <a:buFont typeface="Wingdings" panose="05000000000000000000" pitchFamily="2" charset="2"/>
              <a:buChar char="§"/>
            </a:pPr>
            <a:r>
              <a:rPr lang="el-GR" sz="1200" b="0">
                <a:solidFill>
                  <a:srgbClr val="252525"/>
                </a:solidFill>
                <a:latin typeface="Open Sans" panose="020B0606030504020204" pitchFamily="34" charset="0"/>
              </a:rPr>
              <a:t>Δεν προβλέπονται καινούριες πυρηνικές εγκαταστάσεις στο μέλλον, έτσι το ποσοστό ΑΠΕ μόνο θα αυξάνεται σε όλα τα κράτη-μέλη.</a:t>
            </a:r>
            <a:endParaRPr lang="el-GR" b="0"/>
          </a:p>
          <a:p>
            <a:endParaRPr lang="en-US" b="0"/>
          </a:p>
        </p:txBody>
      </p:sp>
      <p:sp>
        <p:nvSpPr>
          <p:cNvPr id="4" name="Date Placeholder 3">
            <a:extLst>
              <a:ext uri="{FF2B5EF4-FFF2-40B4-BE49-F238E27FC236}">
                <a16:creationId xmlns:a16="http://schemas.microsoft.com/office/drawing/2014/main" id="{E06393B4-DEDF-332B-454C-EAD9E3AE2CA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080CBFC5-13C8-30B5-B524-9F182EA0D38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10EA1E4-9DC9-5C81-2F6F-B39ABAB9C26B}"/>
              </a:ext>
            </a:extLst>
          </p:cNvPr>
          <p:cNvSpPr>
            <a:spLocks noGrp="1"/>
          </p:cNvSpPr>
          <p:nvPr>
            <p:ph type="sldNum" sz="quarter" idx="5"/>
          </p:nvPr>
        </p:nvSpPr>
        <p:spPr/>
        <p:txBody>
          <a:bodyPr/>
          <a:lstStyle/>
          <a:p>
            <a:fld id="{F26CA750-A413-461A-ACF7-A597AE5AD928}" type="slidenum">
              <a:rPr lang="en-US" smtClean="0"/>
              <a:pPr/>
              <a:t>21</a:t>
            </a:fld>
            <a:endParaRPr lang="en-US"/>
          </a:p>
        </p:txBody>
      </p:sp>
    </p:spTree>
    <p:extLst>
      <p:ext uri="{BB962C8B-B14F-4D97-AF65-F5344CB8AC3E}">
        <p14:creationId xmlns:p14="http://schemas.microsoft.com/office/powerpoint/2010/main" val="37954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185A2-38A6-DF1A-9F25-1E76AA834B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AD8005-6681-CC80-821B-6F813EC74B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490968-531A-B44D-0F7B-154800158492}"/>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C02CC50-1728-0482-C40A-5B47F85920F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93933F7-F4B6-CD46-7B8F-7A5C4AFFF64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8BE4839-645D-85CC-79C7-80C7F77AF1ED}"/>
              </a:ext>
            </a:extLst>
          </p:cNvPr>
          <p:cNvSpPr>
            <a:spLocks noGrp="1"/>
          </p:cNvSpPr>
          <p:nvPr>
            <p:ph type="sldNum" sz="quarter" idx="5"/>
          </p:nvPr>
        </p:nvSpPr>
        <p:spPr/>
        <p:txBody>
          <a:bodyPr/>
          <a:lstStyle/>
          <a:p>
            <a:fld id="{F26CA750-A413-461A-ACF7-A597AE5AD928}" type="slidenum">
              <a:rPr lang="en-US" smtClean="0"/>
              <a:pPr/>
              <a:t>22</a:t>
            </a:fld>
            <a:endParaRPr lang="en-US"/>
          </a:p>
        </p:txBody>
      </p:sp>
    </p:spTree>
    <p:extLst>
      <p:ext uri="{BB962C8B-B14F-4D97-AF65-F5344CB8AC3E}">
        <p14:creationId xmlns:p14="http://schemas.microsoft.com/office/powerpoint/2010/main" val="13658355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23</a:t>
            </a:fld>
            <a:endParaRPr lang="en-US"/>
          </a:p>
        </p:txBody>
      </p:sp>
    </p:spTree>
    <p:extLst>
      <p:ext uri="{BB962C8B-B14F-4D97-AF65-F5344CB8AC3E}">
        <p14:creationId xmlns:p14="http://schemas.microsoft.com/office/powerpoint/2010/main" val="34552026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40698-B40F-ADEC-986F-4D2DC27C0B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D7872BB-B41F-63B7-A08D-F9D70DF89E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2D6A5D-C043-1549-FACB-5771B165637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25AAE25-DAAB-9F99-5F68-B1BB23CB484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F484F2A2-F7B1-C4BC-D95A-FEF4286F2BA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23A49BD-E8DF-630C-FAC3-8B1B0ED0A151}"/>
              </a:ext>
            </a:extLst>
          </p:cNvPr>
          <p:cNvSpPr>
            <a:spLocks noGrp="1"/>
          </p:cNvSpPr>
          <p:nvPr>
            <p:ph type="sldNum" sz="quarter" idx="5"/>
          </p:nvPr>
        </p:nvSpPr>
        <p:spPr/>
        <p:txBody>
          <a:bodyPr/>
          <a:lstStyle/>
          <a:p>
            <a:fld id="{F26CA750-A413-461A-ACF7-A597AE5AD928}" type="slidenum">
              <a:rPr lang="en-US" smtClean="0"/>
              <a:pPr/>
              <a:t>24</a:t>
            </a:fld>
            <a:endParaRPr lang="en-US"/>
          </a:p>
        </p:txBody>
      </p:sp>
    </p:spTree>
    <p:extLst>
      <p:ext uri="{BB962C8B-B14F-4D97-AF65-F5344CB8AC3E}">
        <p14:creationId xmlns:p14="http://schemas.microsoft.com/office/powerpoint/2010/main" val="1487447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C55C60-A9B0-5C08-FA2B-7B49F5D38D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CDEF6-9B77-054C-0522-BF2E6C6D21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82C673-92E7-017B-B479-C47DD56C1C30}"/>
              </a:ext>
            </a:extLst>
          </p:cNvPr>
          <p:cNvSpPr>
            <a:spLocks noGrp="1"/>
          </p:cNvSpPr>
          <p:nvPr>
            <p:ph type="body" idx="1"/>
          </p:nvPr>
        </p:nvSpPr>
        <p:spPr/>
        <p:txBody>
          <a:bodyPr/>
          <a:lstStyle/>
          <a:p>
            <a:r>
              <a:rPr lang="el-GR" b="0"/>
              <a:t>Παρά το φάσμα τεχνολογιών αποθήκευσης, αυτή τη στιγμή η πιο διαδεδομένη τεχνολογία είναι οι μπαταρίες ιόντων </a:t>
            </a:r>
            <a:r>
              <a:rPr lang="el-GR" b="0" err="1"/>
              <a:t>λιθίου</a:t>
            </a:r>
            <a:r>
              <a:rPr lang="el-GR" b="0"/>
              <a:t> (</a:t>
            </a:r>
            <a:r>
              <a:rPr lang="en-US" b="0"/>
              <a:t>Li-ion BESS)</a:t>
            </a:r>
          </a:p>
        </p:txBody>
      </p:sp>
      <p:sp>
        <p:nvSpPr>
          <p:cNvPr id="4" name="Date Placeholder 3">
            <a:extLst>
              <a:ext uri="{FF2B5EF4-FFF2-40B4-BE49-F238E27FC236}">
                <a16:creationId xmlns:a16="http://schemas.microsoft.com/office/drawing/2014/main" id="{04C4B8E7-4C54-D0B7-A605-362198304B7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FA1EE88-31E8-41D0-52C3-4429F877CB1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6C318FC-D4B2-0CA2-932E-0DED0FD65446}"/>
              </a:ext>
            </a:extLst>
          </p:cNvPr>
          <p:cNvSpPr>
            <a:spLocks noGrp="1"/>
          </p:cNvSpPr>
          <p:nvPr>
            <p:ph type="sldNum" sz="quarter" idx="5"/>
          </p:nvPr>
        </p:nvSpPr>
        <p:spPr/>
        <p:txBody>
          <a:bodyPr/>
          <a:lstStyle/>
          <a:p>
            <a:fld id="{F26CA750-A413-461A-ACF7-A597AE5AD928}" type="slidenum">
              <a:rPr lang="en-US" smtClean="0"/>
              <a:pPr/>
              <a:t>25</a:t>
            </a:fld>
            <a:endParaRPr lang="en-US"/>
          </a:p>
        </p:txBody>
      </p:sp>
    </p:spTree>
    <p:extLst>
      <p:ext uri="{BB962C8B-B14F-4D97-AF65-F5344CB8AC3E}">
        <p14:creationId xmlns:p14="http://schemas.microsoft.com/office/powerpoint/2010/main" val="1391645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DAC10-2BEA-E03B-9546-28A6753519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FF6EE4-B527-7D37-CC57-A0133862CE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F0334C-15A0-71B2-B907-4D8DC3B741A5}"/>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39B878C7-9F6B-BB35-3A85-0AD9D9B9CA4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04596F5-1AEA-5F48-E296-0E4ED3E75BA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DA259EE-1AA3-67B8-A206-96856E5230FF}"/>
              </a:ext>
            </a:extLst>
          </p:cNvPr>
          <p:cNvSpPr>
            <a:spLocks noGrp="1"/>
          </p:cNvSpPr>
          <p:nvPr>
            <p:ph type="sldNum" sz="quarter" idx="5"/>
          </p:nvPr>
        </p:nvSpPr>
        <p:spPr/>
        <p:txBody>
          <a:bodyPr/>
          <a:lstStyle/>
          <a:p>
            <a:fld id="{F26CA750-A413-461A-ACF7-A597AE5AD928}" type="slidenum">
              <a:rPr lang="en-US" smtClean="0"/>
              <a:pPr/>
              <a:t>26</a:t>
            </a:fld>
            <a:endParaRPr lang="en-US"/>
          </a:p>
        </p:txBody>
      </p:sp>
    </p:spTree>
    <p:extLst>
      <p:ext uri="{BB962C8B-B14F-4D97-AF65-F5344CB8AC3E}">
        <p14:creationId xmlns:p14="http://schemas.microsoft.com/office/powerpoint/2010/main" val="4018506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F4CBD-B307-5E5D-9805-A7525AC12F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302A0B-3C51-E415-9CAC-3C90E1E643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4AF477-C519-E978-6D75-74C8C2507777}"/>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A1FC9241-E5D3-B549-FB6E-8D7EC0C0FB3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F184FA7-941F-B96E-4D61-ED39A557CDE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031747C-1D3F-6EED-D023-FCAC56835CB8}"/>
              </a:ext>
            </a:extLst>
          </p:cNvPr>
          <p:cNvSpPr>
            <a:spLocks noGrp="1"/>
          </p:cNvSpPr>
          <p:nvPr>
            <p:ph type="sldNum" sz="quarter" idx="5"/>
          </p:nvPr>
        </p:nvSpPr>
        <p:spPr/>
        <p:txBody>
          <a:bodyPr/>
          <a:lstStyle/>
          <a:p>
            <a:fld id="{F26CA750-A413-461A-ACF7-A597AE5AD928}" type="slidenum">
              <a:rPr lang="en-US" smtClean="0"/>
              <a:pPr/>
              <a:t>27</a:t>
            </a:fld>
            <a:endParaRPr lang="en-US"/>
          </a:p>
        </p:txBody>
      </p:sp>
    </p:spTree>
    <p:extLst>
      <p:ext uri="{BB962C8B-B14F-4D97-AF65-F5344CB8AC3E}">
        <p14:creationId xmlns:p14="http://schemas.microsoft.com/office/powerpoint/2010/main" val="2561114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C9F11-D49C-1B46-C2FC-D2FF80EC065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EA6C73-A0B4-0E73-FBEE-48BFD06942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085C7C-20A1-AF7E-BBEB-5BB57FD54A83}"/>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41594A06-BEA9-AAFD-81BE-BE0E83EAF052}"/>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39BC297-0539-48A4-8930-9747679A381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069B9E2F-DE08-D5AF-8465-422D33C326BD}"/>
              </a:ext>
            </a:extLst>
          </p:cNvPr>
          <p:cNvSpPr>
            <a:spLocks noGrp="1"/>
          </p:cNvSpPr>
          <p:nvPr>
            <p:ph type="sldNum" sz="quarter" idx="5"/>
          </p:nvPr>
        </p:nvSpPr>
        <p:spPr/>
        <p:txBody>
          <a:bodyPr/>
          <a:lstStyle/>
          <a:p>
            <a:fld id="{F26CA750-A413-461A-ACF7-A597AE5AD928}" type="slidenum">
              <a:rPr lang="en-US" smtClean="0"/>
              <a:pPr/>
              <a:t>28</a:t>
            </a:fld>
            <a:endParaRPr lang="en-US"/>
          </a:p>
        </p:txBody>
      </p:sp>
    </p:spTree>
    <p:extLst>
      <p:ext uri="{BB962C8B-B14F-4D97-AF65-F5344CB8AC3E}">
        <p14:creationId xmlns:p14="http://schemas.microsoft.com/office/powerpoint/2010/main" val="496159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BB3089-5A3E-CD42-409F-77EB4CB96D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EDE0A7-743F-AA31-C32A-CE1F6C10E4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39A88AA-4E37-195D-8D68-6C2DCE4F61D0}"/>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41339A61-9002-D5A1-2274-3A64864A872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16830432-EEE9-74F6-D111-D390C46602A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C1BAA89-E490-12D2-9A3A-DFE90CAEDF64}"/>
              </a:ext>
            </a:extLst>
          </p:cNvPr>
          <p:cNvSpPr>
            <a:spLocks noGrp="1"/>
          </p:cNvSpPr>
          <p:nvPr>
            <p:ph type="sldNum" sz="quarter" idx="5"/>
          </p:nvPr>
        </p:nvSpPr>
        <p:spPr/>
        <p:txBody>
          <a:bodyPr/>
          <a:lstStyle/>
          <a:p>
            <a:fld id="{F26CA750-A413-461A-ACF7-A597AE5AD928}" type="slidenum">
              <a:rPr lang="en-US" smtClean="0"/>
              <a:pPr/>
              <a:t>29</a:t>
            </a:fld>
            <a:endParaRPr lang="en-US"/>
          </a:p>
        </p:txBody>
      </p:sp>
    </p:spTree>
    <p:extLst>
      <p:ext uri="{BB962C8B-B14F-4D97-AF65-F5344CB8AC3E}">
        <p14:creationId xmlns:p14="http://schemas.microsoft.com/office/powerpoint/2010/main" val="15622188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3</a:t>
            </a:fld>
            <a:endParaRPr lang="en-US"/>
          </a:p>
        </p:txBody>
      </p:sp>
    </p:spTree>
    <p:extLst>
      <p:ext uri="{BB962C8B-B14F-4D97-AF65-F5344CB8AC3E}">
        <p14:creationId xmlns:p14="http://schemas.microsoft.com/office/powerpoint/2010/main" val="18760561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4BC73-BFB1-D4B3-8F58-CFE8251DF5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150FD5-F53D-7DC5-91CB-8E640F7F0F5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65FAF6-6A0E-D811-745C-654160BB2BAF}"/>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705C0F9F-2750-4E9C-395D-81FE8BFA898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2E3F6085-B37E-6562-48C6-102CA375371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CEE54E3-02FD-C626-6262-005ED99D9C86}"/>
              </a:ext>
            </a:extLst>
          </p:cNvPr>
          <p:cNvSpPr>
            <a:spLocks noGrp="1"/>
          </p:cNvSpPr>
          <p:nvPr>
            <p:ph type="sldNum" sz="quarter" idx="5"/>
          </p:nvPr>
        </p:nvSpPr>
        <p:spPr/>
        <p:txBody>
          <a:bodyPr/>
          <a:lstStyle/>
          <a:p>
            <a:fld id="{F26CA750-A413-461A-ACF7-A597AE5AD928}" type="slidenum">
              <a:rPr lang="en-US" smtClean="0"/>
              <a:pPr/>
              <a:t>30</a:t>
            </a:fld>
            <a:endParaRPr lang="en-US"/>
          </a:p>
        </p:txBody>
      </p:sp>
    </p:spTree>
    <p:extLst>
      <p:ext uri="{BB962C8B-B14F-4D97-AF65-F5344CB8AC3E}">
        <p14:creationId xmlns:p14="http://schemas.microsoft.com/office/powerpoint/2010/main" val="1309922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D4C828-A993-BDF4-BDE4-1FE4814B83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7F17C6-6624-5EA0-4599-ACF9E9C39D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374124-ECF5-D9A8-23B1-3EC0938BE602}"/>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EEC7BDEC-4DEA-3FF7-51CD-939F5B3AAAC2}"/>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2DB3FFDA-DC3B-9CE4-0424-B3028B40648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B336DB2-2AF7-C21E-C490-A822AADD2A8B}"/>
              </a:ext>
            </a:extLst>
          </p:cNvPr>
          <p:cNvSpPr>
            <a:spLocks noGrp="1"/>
          </p:cNvSpPr>
          <p:nvPr>
            <p:ph type="sldNum" sz="quarter" idx="5"/>
          </p:nvPr>
        </p:nvSpPr>
        <p:spPr/>
        <p:txBody>
          <a:bodyPr/>
          <a:lstStyle/>
          <a:p>
            <a:fld id="{F26CA750-A413-461A-ACF7-A597AE5AD928}" type="slidenum">
              <a:rPr lang="en-US" smtClean="0"/>
              <a:pPr/>
              <a:t>31</a:t>
            </a:fld>
            <a:endParaRPr lang="en-US"/>
          </a:p>
        </p:txBody>
      </p:sp>
    </p:spTree>
    <p:extLst>
      <p:ext uri="{BB962C8B-B14F-4D97-AF65-F5344CB8AC3E}">
        <p14:creationId xmlns:p14="http://schemas.microsoft.com/office/powerpoint/2010/main" val="13665370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2095F-876C-3BF2-E88C-4C26C2173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41C1B9-4981-C39F-2F6E-7D8F530340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E69B46-AA54-1BF0-8616-028388A1BB35}"/>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06B636DE-E129-893C-CACE-A76DCB10C50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555E99C-B821-0044-DAF0-7A5C985F8D6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4A7B9FF-E858-7D94-E209-66D6D074D101}"/>
              </a:ext>
            </a:extLst>
          </p:cNvPr>
          <p:cNvSpPr>
            <a:spLocks noGrp="1"/>
          </p:cNvSpPr>
          <p:nvPr>
            <p:ph type="sldNum" sz="quarter" idx="5"/>
          </p:nvPr>
        </p:nvSpPr>
        <p:spPr/>
        <p:txBody>
          <a:bodyPr/>
          <a:lstStyle/>
          <a:p>
            <a:fld id="{F26CA750-A413-461A-ACF7-A597AE5AD928}" type="slidenum">
              <a:rPr lang="en-US" smtClean="0"/>
              <a:pPr/>
              <a:t>32</a:t>
            </a:fld>
            <a:endParaRPr lang="en-US"/>
          </a:p>
        </p:txBody>
      </p:sp>
    </p:spTree>
    <p:extLst>
      <p:ext uri="{BB962C8B-B14F-4D97-AF65-F5344CB8AC3E}">
        <p14:creationId xmlns:p14="http://schemas.microsoft.com/office/powerpoint/2010/main" val="2918429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15593C-BC40-0549-9E1E-513CECFE54E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0AB6F0-B787-686E-936A-9F9B157128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9AB7C7-D0AB-0C79-E9B0-15373012CDB1}"/>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C97D7B70-D1A8-258E-CD6A-60276AA8D7A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64CFF8C-E992-8159-CE1F-48C9C621DAED}"/>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1F4C656-04DB-26B0-0848-66C44108EDFF}"/>
              </a:ext>
            </a:extLst>
          </p:cNvPr>
          <p:cNvSpPr>
            <a:spLocks noGrp="1"/>
          </p:cNvSpPr>
          <p:nvPr>
            <p:ph type="sldNum" sz="quarter" idx="5"/>
          </p:nvPr>
        </p:nvSpPr>
        <p:spPr/>
        <p:txBody>
          <a:bodyPr/>
          <a:lstStyle/>
          <a:p>
            <a:fld id="{F26CA750-A413-461A-ACF7-A597AE5AD928}" type="slidenum">
              <a:rPr lang="en-US" smtClean="0"/>
              <a:pPr/>
              <a:t>33</a:t>
            </a:fld>
            <a:endParaRPr lang="en-US"/>
          </a:p>
        </p:txBody>
      </p:sp>
    </p:spTree>
    <p:extLst>
      <p:ext uri="{BB962C8B-B14F-4D97-AF65-F5344CB8AC3E}">
        <p14:creationId xmlns:p14="http://schemas.microsoft.com/office/powerpoint/2010/main" val="28320040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FA6C74-A6E1-ED87-5E0C-84DD792B8A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B03C3-C69F-B8A8-D97C-489025904C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EE1FDD-578D-CF8A-C546-BF9BBC790A82}"/>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4B7D5D55-EC66-B057-5FDB-0BF69AA97E5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FC86979-0DB7-1436-5237-699E4D8FE01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BEB856D-B748-15D6-EEA7-52EA56641A4A}"/>
              </a:ext>
            </a:extLst>
          </p:cNvPr>
          <p:cNvSpPr>
            <a:spLocks noGrp="1"/>
          </p:cNvSpPr>
          <p:nvPr>
            <p:ph type="sldNum" sz="quarter" idx="5"/>
          </p:nvPr>
        </p:nvSpPr>
        <p:spPr/>
        <p:txBody>
          <a:bodyPr/>
          <a:lstStyle/>
          <a:p>
            <a:fld id="{F26CA750-A413-461A-ACF7-A597AE5AD928}" type="slidenum">
              <a:rPr lang="en-US" smtClean="0"/>
              <a:pPr/>
              <a:t>34</a:t>
            </a:fld>
            <a:endParaRPr lang="en-US"/>
          </a:p>
        </p:txBody>
      </p:sp>
    </p:spTree>
    <p:extLst>
      <p:ext uri="{BB962C8B-B14F-4D97-AF65-F5344CB8AC3E}">
        <p14:creationId xmlns:p14="http://schemas.microsoft.com/office/powerpoint/2010/main" val="257687233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FD4A40DA-F353-4A9E-A74F-F0DB2594E9E8}"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35</a:t>
            </a:fld>
            <a:endParaRPr lang="en-US"/>
          </a:p>
        </p:txBody>
      </p:sp>
    </p:spTree>
    <p:extLst>
      <p:ext uri="{BB962C8B-B14F-4D97-AF65-F5344CB8AC3E}">
        <p14:creationId xmlns:p14="http://schemas.microsoft.com/office/powerpoint/2010/main" val="6157806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4E7969-8D82-C9F4-3870-F4372C6C3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DCE5FB-0A03-2DFB-BDA5-4886605F4D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8671B1-43E4-1243-F86D-B63B023EF57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2E76999A-FD07-9780-0BF2-03843E8312EC}"/>
              </a:ext>
            </a:extLst>
          </p:cNvPr>
          <p:cNvSpPr>
            <a:spLocks noGrp="1"/>
          </p:cNvSpPr>
          <p:nvPr>
            <p:ph type="dt" idx="1"/>
          </p:nvPr>
        </p:nvSpPr>
        <p:spPr/>
        <p:txBody>
          <a:bodyPr/>
          <a:lstStyle/>
          <a:p>
            <a:pPr defTabSz="911840">
              <a:defRPr/>
            </a:pPr>
            <a:fld id="{FB0FB23C-3442-43B8-8160-AA83F81B5094}" type="datetime1">
              <a:rPr lang="en-US" smtClean="0">
                <a:solidFill>
                  <a:srgbClr val="0032A0"/>
                </a:solidFill>
                <a:latin typeface="The Wave Sans TT"/>
              </a:rPr>
              <a:t>6/6/2025</a:t>
            </a:fld>
            <a:endParaRPr lang="en-US">
              <a:solidFill>
                <a:srgbClr val="0032A0"/>
              </a:solidFill>
              <a:latin typeface="The Wave Sans TT"/>
            </a:endParaRPr>
          </a:p>
        </p:txBody>
      </p:sp>
      <p:sp>
        <p:nvSpPr>
          <p:cNvPr id="5" name="Footer Placeholder 4">
            <a:extLst>
              <a:ext uri="{FF2B5EF4-FFF2-40B4-BE49-F238E27FC236}">
                <a16:creationId xmlns:a16="http://schemas.microsoft.com/office/drawing/2014/main" id="{28477DE6-EF6C-B550-BBBA-2E1045D9C442}"/>
              </a:ext>
            </a:extLst>
          </p:cNvPr>
          <p:cNvSpPr>
            <a:spLocks noGrp="1"/>
          </p:cNvSpPr>
          <p:nvPr>
            <p:ph type="ftr" sz="quarter" idx="4"/>
          </p:nvPr>
        </p:nvSpPr>
        <p:spPr/>
        <p:txBody>
          <a:bodyPr/>
          <a:lstStyle/>
          <a:p>
            <a:pPr defTabSz="911840">
              <a:defRPr/>
            </a:pPr>
            <a:r>
              <a:rPr lang="en-US">
                <a:solidFill>
                  <a:srgbClr val="0032A0"/>
                </a:solidFill>
                <a:latin typeface="The Wave Sans TT"/>
              </a:rPr>
              <a:t>Placeholder for the presentation title (Insert → header and footer)</a:t>
            </a:r>
          </a:p>
        </p:txBody>
      </p:sp>
      <p:sp>
        <p:nvSpPr>
          <p:cNvPr id="6" name="Slide Number Placeholder 5">
            <a:extLst>
              <a:ext uri="{FF2B5EF4-FFF2-40B4-BE49-F238E27FC236}">
                <a16:creationId xmlns:a16="http://schemas.microsoft.com/office/drawing/2014/main" id="{AA4B63B6-5AF0-5B6F-0EEE-0D9B064281A3}"/>
              </a:ext>
            </a:extLst>
          </p:cNvPr>
          <p:cNvSpPr>
            <a:spLocks noGrp="1"/>
          </p:cNvSpPr>
          <p:nvPr>
            <p:ph type="sldNum" sz="quarter" idx="5"/>
          </p:nvPr>
        </p:nvSpPr>
        <p:spPr/>
        <p:txBody>
          <a:bodyPr/>
          <a:lstStyle/>
          <a:p>
            <a:pPr defTabSz="911840">
              <a:defRPr/>
            </a:pPr>
            <a:fld id="{F26CA750-A413-461A-ACF7-A597AE5AD928}" type="slidenum">
              <a:rPr lang="en-US">
                <a:solidFill>
                  <a:srgbClr val="0032A0"/>
                </a:solidFill>
                <a:latin typeface="The Wave Sans TT"/>
              </a:rPr>
              <a:pPr defTabSz="911840">
                <a:defRPr/>
              </a:pPr>
              <a:t>36</a:t>
            </a:fld>
            <a:endParaRPr lang="en-US">
              <a:solidFill>
                <a:srgbClr val="0032A0"/>
              </a:solidFill>
              <a:latin typeface="The Wave Sans TT"/>
            </a:endParaRPr>
          </a:p>
        </p:txBody>
      </p:sp>
    </p:spTree>
    <p:extLst>
      <p:ext uri="{BB962C8B-B14F-4D97-AF65-F5344CB8AC3E}">
        <p14:creationId xmlns:p14="http://schemas.microsoft.com/office/powerpoint/2010/main" val="17429435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5B94B-DDD6-1CDE-454F-11E050EB3E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B97B8E-F809-A7FF-6225-7DBE95B7A9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5F2BE9-F07F-090C-7B6E-CA5C306E8C4A}"/>
              </a:ext>
            </a:extLst>
          </p:cNvPr>
          <p:cNvSpPr>
            <a:spLocks noGrp="1"/>
          </p:cNvSpPr>
          <p:nvPr>
            <p:ph type="body" idx="1"/>
          </p:nvPr>
        </p:nvSpPr>
        <p:spPr/>
        <p:txBody>
          <a:bodyPr/>
          <a:lstStyle/>
          <a:p>
            <a:endParaRPr lang="el-GR"/>
          </a:p>
        </p:txBody>
      </p:sp>
      <p:sp>
        <p:nvSpPr>
          <p:cNvPr id="4" name="Date Placeholder 3">
            <a:extLst>
              <a:ext uri="{FF2B5EF4-FFF2-40B4-BE49-F238E27FC236}">
                <a16:creationId xmlns:a16="http://schemas.microsoft.com/office/drawing/2014/main" id="{8A15618B-10B1-6573-98B1-DE6ECBF43B14}"/>
              </a:ext>
            </a:extLst>
          </p:cNvPr>
          <p:cNvSpPr>
            <a:spLocks noGrp="1"/>
          </p:cNvSpPr>
          <p:nvPr>
            <p:ph type="dt" idx="1"/>
          </p:nvPr>
        </p:nvSpPr>
        <p:spPr/>
        <p:txBody>
          <a:bodyPr/>
          <a:lstStyle/>
          <a:p>
            <a:fld id="{6CE9BF70-47A2-4950-A672-0765AF467AC3}" type="datetime1">
              <a:rPr lang="en-US" smtClean="0"/>
              <a:t>6/6/2025</a:t>
            </a:fld>
            <a:endParaRPr lang="en-US"/>
          </a:p>
        </p:txBody>
      </p:sp>
      <p:sp>
        <p:nvSpPr>
          <p:cNvPr id="5" name="Footer Placeholder 4">
            <a:extLst>
              <a:ext uri="{FF2B5EF4-FFF2-40B4-BE49-F238E27FC236}">
                <a16:creationId xmlns:a16="http://schemas.microsoft.com/office/drawing/2014/main" id="{CBDA9BEA-791C-823B-973C-0D7BE88474A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0CCE878C-4E2F-30CF-1296-974666D7438A}"/>
              </a:ext>
            </a:extLst>
          </p:cNvPr>
          <p:cNvSpPr>
            <a:spLocks noGrp="1"/>
          </p:cNvSpPr>
          <p:nvPr>
            <p:ph type="sldNum" sz="quarter" idx="5"/>
          </p:nvPr>
        </p:nvSpPr>
        <p:spPr/>
        <p:txBody>
          <a:bodyPr/>
          <a:lstStyle/>
          <a:p>
            <a:fld id="{F26CA750-A413-461A-ACF7-A597AE5AD928}" type="slidenum">
              <a:rPr lang="en-US" smtClean="0"/>
              <a:pPr/>
              <a:t>37</a:t>
            </a:fld>
            <a:endParaRPr lang="en-US"/>
          </a:p>
        </p:txBody>
      </p:sp>
    </p:spTree>
    <p:extLst>
      <p:ext uri="{BB962C8B-B14F-4D97-AF65-F5344CB8AC3E}">
        <p14:creationId xmlns:p14="http://schemas.microsoft.com/office/powerpoint/2010/main" val="25505401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a:solidFill>
                  <a:schemeClr val="bg1"/>
                </a:solidFill>
              </a:rPr>
              <a:t>Sources: file://firmwide.corp.gs.com/ibdroot/projects/IBDLN/headship2023/915738_1/1.%20Library/03.%20Reports/Industry%20Reports/Greece%20RES%20Report%202020-2030.pdf</a:t>
            </a:r>
            <a:endParaRPr lang="en-US" sz="600"/>
          </a:p>
        </p:txBody>
      </p:sp>
      <p:sp>
        <p:nvSpPr>
          <p:cNvPr id="4" name="Date Placeholder 3"/>
          <p:cNvSpPr>
            <a:spLocks noGrp="1"/>
          </p:cNvSpPr>
          <p:nvPr>
            <p:ph type="dt" idx="1"/>
          </p:nvPr>
        </p:nvSpPr>
        <p:spPr/>
        <p:txBody>
          <a:bodyPr/>
          <a:lstStyle/>
          <a:p>
            <a:pPr defTabSz="911840">
              <a:defRPr/>
            </a:pPr>
            <a:fld id="{776FB6B7-EC6D-4E47-B7C2-77849FFD52E9}" type="datetime1">
              <a:rPr lang="en-US" smtClean="0">
                <a:solidFill>
                  <a:srgbClr val="0032A0"/>
                </a:solidFill>
                <a:latin typeface="The Wave Sans TT"/>
              </a:rPr>
              <a:t>6/6/2025</a:t>
            </a:fld>
            <a:endParaRPr lang="en-US">
              <a:solidFill>
                <a:srgbClr val="0032A0"/>
              </a:solidFill>
              <a:latin typeface="The Wave Sans TT"/>
            </a:endParaRPr>
          </a:p>
        </p:txBody>
      </p:sp>
      <p:sp>
        <p:nvSpPr>
          <p:cNvPr id="5" name="Footer Placeholder 4"/>
          <p:cNvSpPr>
            <a:spLocks noGrp="1"/>
          </p:cNvSpPr>
          <p:nvPr>
            <p:ph type="ftr" sz="quarter" idx="4"/>
          </p:nvPr>
        </p:nvSpPr>
        <p:spPr/>
        <p:txBody>
          <a:bodyPr/>
          <a:lstStyle/>
          <a:p>
            <a:pPr defTabSz="911840">
              <a:defRPr/>
            </a:pPr>
            <a:r>
              <a:rPr lang="en-US">
                <a:solidFill>
                  <a:srgbClr val="0032A0"/>
                </a:solidFill>
                <a:latin typeface="The Wave Sans TT"/>
              </a:rPr>
              <a:t>Placeholder for the presentation title (Insert → header and footer)</a:t>
            </a:r>
          </a:p>
        </p:txBody>
      </p:sp>
      <p:sp>
        <p:nvSpPr>
          <p:cNvPr id="6" name="Slide Number Placeholder 5"/>
          <p:cNvSpPr>
            <a:spLocks noGrp="1"/>
          </p:cNvSpPr>
          <p:nvPr>
            <p:ph type="sldNum" sz="quarter" idx="5"/>
          </p:nvPr>
        </p:nvSpPr>
        <p:spPr/>
        <p:txBody>
          <a:bodyPr/>
          <a:lstStyle/>
          <a:p>
            <a:pPr defTabSz="911840">
              <a:defRPr/>
            </a:pPr>
            <a:fld id="{F26CA750-A413-461A-ACF7-A597AE5AD928}" type="slidenum">
              <a:rPr lang="en-US">
                <a:solidFill>
                  <a:srgbClr val="0032A0"/>
                </a:solidFill>
                <a:latin typeface="The Wave Sans TT"/>
              </a:rPr>
              <a:pPr defTabSz="911840">
                <a:defRPr/>
              </a:pPr>
              <a:t>38</a:t>
            </a:fld>
            <a:endParaRPr lang="en-US">
              <a:solidFill>
                <a:srgbClr val="0032A0"/>
              </a:solidFill>
              <a:latin typeface="The Wave Sans TT"/>
            </a:endParaRPr>
          </a:p>
        </p:txBody>
      </p:sp>
    </p:spTree>
    <p:extLst>
      <p:ext uri="{BB962C8B-B14F-4D97-AF65-F5344CB8AC3E}">
        <p14:creationId xmlns:p14="http://schemas.microsoft.com/office/powerpoint/2010/main" val="19130611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D7A3DE79-3CF9-4885-BB80-328CB06DA1CB}"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39</a:t>
            </a:fld>
            <a:endParaRPr lang="en-US"/>
          </a:p>
        </p:txBody>
      </p:sp>
    </p:spTree>
    <p:extLst>
      <p:ext uri="{BB962C8B-B14F-4D97-AF65-F5344CB8AC3E}">
        <p14:creationId xmlns:p14="http://schemas.microsoft.com/office/powerpoint/2010/main" val="3899265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4</a:t>
            </a:fld>
            <a:endParaRPr lang="en-US"/>
          </a:p>
        </p:txBody>
      </p:sp>
    </p:spTree>
    <p:extLst>
      <p:ext uri="{BB962C8B-B14F-4D97-AF65-F5344CB8AC3E}">
        <p14:creationId xmlns:p14="http://schemas.microsoft.com/office/powerpoint/2010/main" val="6680206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2691222-CA70-4114-B956-69D564E96F34}"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40</a:t>
            </a:fld>
            <a:endParaRPr lang="en-US"/>
          </a:p>
        </p:txBody>
      </p:sp>
    </p:spTree>
    <p:extLst>
      <p:ext uri="{BB962C8B-B14F-4D97-AF65-F5344CB8AC3E}">
        <p14:creationId xmlns:p14="http://schemas.microsoft.com/office/powerpoint/2010/main" val="22187500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456F1E7-02C5-4425-AFA1-E569B0C9F747}" type="datetime1">
              <a:rPr lang="en-US" smtClean="0"/>
              <a:pPr/>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41</a:t>
            </a:fld>
            <a:endParaRPr lang="en-US"/>
          </a:p>
        </p:txBody>
      </p:sp>
    </p:spTree>
    <p:extLst>
      <p:ext uri="{BB962C8B-B14F-4D97-AF65-F5344CB8AC3E}">
        <p14:creationId xmlns:p14="http://schemas.microsoft.com/office/powerpoint/2010/main" val="24639912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42</a:t>
            </a:fld>
            <a:endParaRPr lang="en-US"/>
          </a:p>
        </p:txBody>
      </p:sp>
    </p:spTree>
    <p:extLst>
      <p:ext uri="{BB962C8B-B14F-4D97-AF65-F5344CB8AC3E}">
        <p14:creationId xmlns:p14="http://schemas.microsoft.com/office/powerpoint/2010/main" val="10222692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C00B7-F5EE-780B-5748-CB761C35C8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4A667D-8D61-B123-897B-02063BB2181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C949C9-D720-D548-5265-904D6B7B9292}"/>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AAA67D05-E5C3-ECB5-DE1C-CF61E7EDD63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DAB7819-30C0-9605-FD6D-640D90D5A7F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2416182-93B7-B3F2-5632-9DB01BF3E600}"/>
              </a:ext>
            </a:extLst>
          </p:cNvPr>
          <p:cNvSpPr>
            <a:spLocks noGrp="1"/>
          </p:cNvSpPr>
          <p:nvPr>
            <p:ph type="sldNum" sz="quarter" idx="5"/>
          </p:nvPr>
        </p:nvSpPr>
        <p:spPr/>
        <p:txBody>
          <a:bodyPr/>
          <a:lstStyle/>
          <a:p>
            <a:fld id="{F26CA750-A413-461A-ACF7-A597AE5AD928}" type="slidenum">
              <a:rPr lang="en-US" smtClean="0"/>
              <a:pPr/>
              <a:t>43</a:t>
            </a:fld>
            <a:endParaRPr lang="en-US"/>
          </a:p>
        </p:txBody>
      </p:sp>
    </p:spTree>
    <p:extLst>
      <p:ext uri="{BB962C8B-B14F-4D97-AF65-F5344CB8AC3E}">
        <p14:creationId xmlns:p14="http://schemas.microsoft.com/office/powerpoint/2010/main" val="20321840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07083-F531-F659-EC14-747DA063A1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F1D95-C7FF-EA20-69D2-794D8AFEEC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CF73D1-1260-A053-92BE-E53D0642343F}"/>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254DADE6-7F6B-7DD2-EBFF-313EED0ED089}"/>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1E3F8131-3854-42E1-C7F0-4FDD072A961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F187EA9-99C9-7A53-E400-B20B1C55B1EB}"/>
              </a:ext>
            </a:extLst>
          </p:cNvPr>
          <p:cNvSpPr>
            <a:spLocks noGrp="1"/>
          </p:cNvSpPr>
          <p:nvPr>
            <p:ph type="sldNum" sz="quarter" idx="5"/>
          </p:nvPr>
        </p:nvSpPr>
        <p:spPr/>
        <p:txBody>
          <a:bodyPr/>
          <a:lstStyle/>
          <a:p>
            <a:fld id="{F26CA750-A413-461A-ACF7-A597AE5AD928}" type="slidenum">
              <a:rPr lang="en-US" smtClean="0"/>
              <a:pPr/>
              <a:t>44</a:t>
            </a:fld>
            <a:endParaRPr lang="en-US"/>
          </a:p>
        </p:txBody>
      </p:sp>
    </p:spTree>
    <p:extLst>
      <p:ext uri="{BB962C8B-B14F-4D97-AF65-F5344CB8AC3E}">
        <p14:creationId xmlns:p14="http://schemas.microsoft.com/office/powerpoint/2010/main" val="263094344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AB12B5-702F-C9D1-5BB4-924CB7F570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078766D-2C79-3B9E-EBB1-52D3FA071C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D9BE7C-BE99-9F61-A415-54B9C28932B1}"/>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5C25B4F7-38FC-D655-4767-7BAA53F9710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0887546-642F-10BB-3DB9-E55D76021C0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6F809EA-BBFB-1810-EEB4-0FF1A8851E95}"/>
              </a:ext>
            </a:extLst>
          </p:cNvPr>
          <p:cNvSpPr>
            <a:spLocks noGrp="1"/>
          </p:cNvSpPr>
          <p:nvPr>
            <p:ph type="sldNum" sz="quarter" idx="5"/>
          </p:nvPr>
        </p:nvSpPr>
        <p:spPr/>
        <p:txBody>
          <a:bodyPr/>
          <a:lstStyle/>
          <a:p>
            <a:fld id="{F26CA750-A413-461A-ACF7-A597AE5AD928}" type="slidenum">
              <a:rPr lang="en-US" smtClean="0"/>
              <a:pPr/>
              <a:t>45</a:t>
            </a:fld>
            <a:endParaRPr lang="en-US"/>
          </a:p>
        </p:txBody>
      </p:sp>
    </p:spTree>
    <p:extLst>
      <p:ext uri="{BB962C8B-B14F-4D97-AF65-F5344CB8AC3E}">
        <p14:creationId xmlns:p14="http://schemas.microsoft.com/office/powerpoint/2010/main" val="16442704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8C8E9F-AC79-0CEC-AFDE-6E72801C1B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FB7A43-FC2A-BE96-4693-279F2C10D4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092730-BC2D-1750-E7F2-C06338A328F8}"/>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A93C6FE-95C9-4881-4031-B333023E396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8807382-7899-BE94-290D-469229430A7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60AD3A5-5307-BD20-9FA2-64222B78C0CE}"/>
              </a:ext>
            </a:extLst>
          </p:cNvPr>
          <p:cNvSpPr>
            <a:spLocks noGrp="1"/>
          </p:cNvSpPr>
          <p:nvPr>
            <p:ph type="sldNum" sz="quarter" idx="5"/>
          </p:nvPr>
        </p:nvSpPr>
        <p:spPr/>
        <p:txBody>
          <a:bodyPr/>
          <a:lstStyle/>
          <a:p>
            <a:fld id="{F26CA750-A413-461A-ACF7-A597AE5AD928}" type="slidenum">
              <a:rPr lang="en-US" smtClean="0"/>
              <a:pPr/>
              <a:t>46</a:t>
            </a:fld>
            <a:endParaRPr lang="en-US"/>
          </a:p>
        </p:txBody>
      </p:sp>
    </p:spTree>
    <p:extLst>
      <p:ext uri="{BB962C8B-B14F-4D97-AF65-F5344CB8AC3E}">
        <p14:creationId xmlns:p14="http://schemas.microsoft.com/office/powerpoint/2010/main" val="36226832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1B9A6-35E8-E08E-0A4B-8B64E70216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E5AD47-6A17-13FC-8A9B-EC14386349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CE3886-3F54-DF4C-358C-C1F1E565AB55}"/>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D570BC19-548B-09C0-3DE8-ABC8CD9CD19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773B0E2-C00B-CC78-1607-8EAAD787BD3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9C9CC40-4086-D4B2-6087-467146D337B7}"/>
              </a:ext>
            </a:extLst>
          </p:cNvPr>
          <p:cNvSpPr>
            <a:spLocks noGrp="1"/>
          </p:cNvSpPr>
          <p:nvPr>
            <p:ph type="sldNum" sz="quarter" idx="5"/>
          </p:nvPr>
        </p:nvSpPr>
        <p:spPr/>
        <p:txBody>
          <a:bodyPr/>
          <a:lstStyle/>
          <a:p>
            <a:fld id="{F26CA750-A413-461A-ACF7-A597AE5AD928}" type="slidenum">
              <a:rPr lang="en-US" smtClean="0"/>
              <a:pPr/>
              <a:t>47</a:t>
            </a:fld>
            <a:endParaRPr lang="en-US"/>
          </a:p>
        </p:txBody>
      </p:sp>
    </p:spTree>
    <p:extLst>
      <p:ext uri="{BB962C8B-B14F-4D97-AF65-F5344CB8AC3E}">
        <p14:creationId xmlns:p14="http://schemas.microsoft.com/office/powerpoint/2010/main" val="36784986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8944F-C309-8633-B62A-C1239F4827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1A201C-73E0-7282-4514-E642981B57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E0E9BA-622A-1CCA-3E30-2F0AE4070135}"/>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A1FBF358-41CD-591B-DEBC-CB379859BE9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18DC063-3742-DD1D-65F6-0687FD3D2ED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314C5F3-D427-3AD7-8001-9797DAF83D61}"/>
              </a:ext>
            </a:extLst>
          </p:cNvPr>
          <p:cNvSpPr>
            <a:spLocks noGrp="1"/>
          </p:cNvSpPr>
          <p:nvPr>
            <p:ph type="sldNum" sz="quarter" idx="5"/>
          </p:nvPr>
        </p:nvSpPr>
        <p:spPr/>
        <p:txBody>
          <a:bodyPr/>
          <a:lstStyle/>
          <a:p>
            <a:fld id="{F26CA750-A413-461A-ACF7-A597AE5AD928}" type="slidenum">
              <a:rPr lang="en-US" smtClean="0"/>
              <a:pPr/>
              <a:t>48</a:t>
            </a:fld>
            <a:endParaRPr lang="en-US"/>
          </a:p>
        </p:txBody>
      </p:sp>
    </p:spTree>
    <p:extLst>
      <p:ext uri="{BB962C8B-B14F-4D97-AF65-F5344CB8AC3E}">
        <p14:creationId xmlns:p14="http://schemas.microsoft.com/office/powerpoint/2010/main" val="59667066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FFC45-D97C-C04B-2698-A48220A8B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3D3E1D-E0B1-690F-52D0-BC8347A95B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CA0450-D872-0297-F95B-0FFFBB8A164E}"/>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E9B301D7-9032-BF58-34A4-09800CA695F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25E34B2-3F03-F45D-8C47-C046DF92B0F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88B6CBD-3B26-F80E-C5D6-75752F2D01D3}"/>
              </a:ext>
            </a:extLst>
          </p:cNvPr>
          <p:cNvSpPr>
            <a:spLocks noGrp="1"/>
          </p:cNvSpPr>
          <p:nvPr>
            <p:ph type="sldNum" sz="quarter" idx="5"/>
          </p:nvPr>
        </p:nvSpPr>
        <p:spPr/>
        <p:txBody>
          <a:bodyPr/>
          <a:lstStyle/>
          <a:p>
            <a:fld id="{F26CA750-A413-461A-ACF7-A597AE5AD928}" type="slidenum">
              <a:rPr lang="en-US" smtClean="0"/>
              <a:pPr/>
              <a:t>49</a:t>
            </a:fld>
            <a:endParaRPr lang="en-US"/>
          </a:p>
        </p:txBody>
      </p:sp>
    </p:spTree>
    <p:extLst>
      <p:ext uri="{BB962C8B-B14F-4D97-AF65-F5344CB8AC3E}">
        <p14:creationId xmlns:p14="http://schemas.microsoft.com/office/powerpoint/2010/main" val="2414648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175DAE-309D-264F-A8C0-F071B6969C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7EFFC5-6C64-644D-3802-0B3A0AE1A4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AB41B9-D00F-B83E-A0DC-5CAC8212082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CF9F1368-D14D-1881-7D74-7519A188CE1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64B0E1B-67A5-61FC-ADDD-85FD57DAE42C}"/>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A71A022-CE2F-7550-4E75-0997426EF35E}"/>
              </a:ext>
            </a:extLst>
          </p:cNvPr>
          <p:cNvSpPr>
            <a:spLocks noGrp="1"/>
          </p:cNvSpPr>
          <p:nvPr>
            <p:ph type="sldNum" sz="quarter" idx="5"/>
          </p:nvPr>
        </p:nvSpPr>
        <p:spPr/>
        <p:txBody>
          <a:bodyPr/>
          <a:lstStyle/>
          <a:p>
            <a:fld id="{F26CA750-A413-461A-ACF7-A597AE5AD928}" type="slidenum">
              <a:rPr lang="en-US" smtClean="0"/>
              <a:pPr/>
              <a:t>5</a:t>
            </a:fld>
            <a:endParaRPr lang="en-US"/>
          </a:p>
        </p:txBody>
      </p:sp>
    </p:spTree>
    <p:extLst>
      <p:ext uri="{BB962C8B-B14F-4D97-AF65-F5344CB8AC3E}">
        <p14:creationId xmlns:p14="http://schemas.microsoft.com/office/powerpoint/2010/main" val="17255845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CAC67-D3D7-7120-7418-D0F03A8439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C4E6D0-BE74-335C-F325-1FDDA809F6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CC1BD-1886-3B2A-BE82-A22575A4F5BB}"/>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017F8F9A-E533-7640-0D83-73A2F899B11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9C105B3-E2DB-9A97-0254-E7C5DE59399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1D9B892-3E1A-44AC-4CC0-7C1D87988889}"/>
              </a:ext>
            </a:extLst>
          </p:cNvPr>
          <p:cNvSpPr>
            <a:spLocks noGrp="1"/>
          </p:cNvSpPr>
          <p:nvPr>
            <p:ph type="sldNum" sz="quarter" idx="5"/>
          </p:nvPr>
        </p:nvSpPr>
        <p:spPr/>
        <p:txBody>
          <a:bodyPr/>
          <a:lstStyle/>
          <a:p>
            <a:fld id="{F26CA750-A413-461A-ACF7-A597AE5AD928}" type="slidenum">
              <a:rPr lang="en-US" smtClean="0"/>
              <a:pPr/>
              <a:t>50</a:t>
            </a:fld>
            <a:endParaRPr lang="en-US"/>
          </a:p>
        </p:txBody>
      </p:sp>
    </p:spTree>
    <p:extLst>
      <p:ext uri="{BB962C8B-B14F-4D97-AF65-F5344CB8AC3E}">
        <p14:creationId xmlns:p14="http://schemas.microsoft.com/office/powerpoint/2010/main" val="39713493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8BFDB-7C00-1583-3188-6E544556D9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F0E5B77-3499-505A-3C80-3305349221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B71C-C803-E6CC-1CEF-16B609A08AF1}"/>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EEE6D2A6-DD8F-6284-0433-F9A4A1F7F822}"/>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84850FE-7E5F-122D-3F50-D9B01649D75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934436D-6C20-A911-69C1-10F1DC926581}"/>
              </a:ext>
            </a:extLst>
          </p:cNvPr>
          <p:cNvSpPr>
            <a:spLocks noGrp="1"/>
          </p:cNvSpPr>
          <p:nvPr>
            <p:ph type="sldNum" sz="quarter" idx="5"/>
          </p:nvPr>
        </p:nvSpPr>
        <p:spPr/>
        <p:txBody>
          <a:bodyPr/>
          <a:lstStyle/>
          <a:p>
            <a:fld id="{F26CA750-A413-461A-ACF7-A597AE5AD928}" type="slidenum">
              <a:rPr lang="en-US" smtClean="0"/>
              <a:pPr/>
              <a:t>51</a:t>
            </a:fld>
            <a:endParaRPr lang="en-US"/>
          </a:p>
        </p:txBody>
      </p:sp>
    </p:spTree>
    <p:extLst>
      <p:ext uri="{BB962C8B-B14F-4D97-AF65-F5344CB8AC3E}">
        <p14:creationId xmlns:p14="http://schemas.microsoft.com/office/powerpoint/2010/main" val="4775968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FE037B-E7BA-ACF2-27A8-B08A17F54E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FE9A5A-3F35-5954-D5B7-857901EE0C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D46DCD-DC7B-25EE-05F5-2463D9AB4BF9}"/>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E63374DC-E9EA-0DED-48D8-7DABCFD222C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F06F512-7604-F22C-26A1-F64BE4E91D01}"/>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5014CEF-93F8-7F64-C68B-50D8B76770E0}"/>
              </a:ext>
            </a:extLst>
          </p:cNvPr>
          <p:cNvSpPr>
            <a:spLocks noGrp="1"/>
          </p:cNvSpPr>
          <p:nvPr>
            <p:ph type="sldNum" sz="quarter" idx="5"/>
          </p:nvPr>
        </p:nvSpPr>
        <p:spPr/>
        <p:txBody>
          <a:bodyPr/>
          <a:lstStyle/>
          <a:p>
            <a:fld id="{F26CA750-A413-461A-ACF7-A597AE5AD928}" type="slidenum">
              <a:rPr lang="en-US" smtClean="0"/>
              <a:pPr/>
              <a:t>52</a:t>
            </a:fld>
            <a:endParaRPr lang="en-US"/>
          </a:p>
        </p:txBody>
      </p:sp>
    </p:spTree>
    <p:extLst>
      <p:ext uri="{BB962C8B-B14F-4D97-AF65-F5344CB8AC3E}">
        <p14:creationId xmlns:p14="http://schemas.microsoft.com/office/powerpoint/2010/main" val="36461671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0612B9-D53A-4BAA-9336-83A02322429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A04C70-F979-0FC1-F385-10AA8A08FD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63FE47-1907-BA95-CF16-59EA75E27CE1}"/>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0F7D8668-CDB8-68DB-2A58-687C0E9BBC7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DEB00851-F59D-B2B8-770D-D1D965037A3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988233E-F5D6-87A8-2AA6-A981E7D6E928}"/>
              </a:ext>
            </a:extLst>
          </p:cNvPr>
          <p:cNvSpPr>
            <a:spLocks noGrp="1"/>
          </p:cNvSpPr>
          <p:nvPr>
            <p:ph type="sldNum" sz="quarter" idx="5"/>
          </p:nvPr>
        </p:nvSpPr>
        <p:spPr/>
        <p:txBody>
          <a:bodyPr/>
          <a:lstStyle/>
          <a:p>
            <a:fld id="{F26CA750-A413-461A-ACF7-A597AE5AD928}" type="slidenum">
              <a:rPr lang="en-US" smtClean="0"/>
              <a:pPr/>
              <a:t>53</a:t>
            </a:fld>
            <a:endParaRPr lang="en-US"/>
          </a:p>
        </p:txBody>
      </p:sp>
    </p:spTree>
    <p:extLst>
      <p:ext uri="{BB962C8B-B14F-4D97-AF65-F5344CB8AC3E}">
        <p14:creationId xmlns:p14="http://schemas.microsoft.com/office/powerpoint/2010/main" val="2786706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D4A55-2004-A350-53A4-2B6DC6B809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A93E74-2B4D-EE4C-8D54-65CA6F0AB3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A857FE-75B6-C215-64B9-F8403740A52A}"/>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679AAA06-8A3E-DDE0-1178-92955E952B9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979895F-B1B0-ED78-A9D4-6F3476A13EE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796EAD8-9E8B-1E8C-0C49-19C19A96D9F2}"/>
              </a:ext>
            </a:extLst>
          </p:cNvPr>
          <p:cNvSpPr>
            <a:spLocks noGrp="1"/>
          </p:cNvSpPr>
          <p:nvPr>
            <p:ph type="sldNum" sz="quarter" idx="5"/>
          </p:nvPr>
        </p:nvSpPr>
        <p:spPr/>
        <p:txBody>
          <a:bodyPr/>
          <a:lstStyle/>
          <a:p>
            <a:fld id="{F26CA750-A413-461A-ACF7-A597AE5AD928}" type="slidenum">
              <a:rPr lang="en-US" smtClean="0"/>
              <a:pPr/>
              <a:t>54</a:t>
            </a:fld>
            <a:endParaRPr lang="en-US"/>
          </a:p>
        </p:txBody>
      </p:sp>
    </p:spTree>
    <p:extLst>
      <p:ext uri="{BB962C8B-B14F-4D97-AF65-F5344CB8AC3E}">
        <p14:creationId xmlns:p14="http://schemas.microsoft.com/office/powerpoint/2010/main" val="192399775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5208-676A-F46E-E676-9FF8A52A2F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8F93F1-EE5C-2E31-D427-7EDCC21AAA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6880E7-49CF-D83E-227B-AEB5D76AD8A3}"/>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F014F2C-F178-CFEA-2E85-9D62DC7426E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82DE40A7-178F-EF5B-80CA-06D7AF1A7B9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6D55E5B-42A5-D07E-3366-170A1D0D8718}"/>
              </a:ext>
            </a:extLst>
          </p:cNvPr>
          <p:cNvSpPr>
            <a:spLocks noGrp="1"/>
          </p:cNvSpPr>
          <p:nvPr>
            <p:ph type="sldNum" sz="quarter" idx="5"/>
          </p:nvPr>
        </p:nvSpPr>
        <p:spPr/>
        <p:txBody>
          <a:bodyPr/>
          <a:lstStyle/>
          <a:p>
            <a:fld id="{F26CA750-A413-461A-ACF7-A597AE5AD928}" type="slidenum">
              <a:rPr lang="en-US" smtClean="0"/>
              <a:pPr/>
              <a:t>55</a:t>
            </a:fld>
            <a:endParaRPr lang="en-US"/>
          </a:p>
        </p:txBody>
      </p:sp>
    </p:spTree>
    <p:extLst>
      <p:ext uri="{BB962C8B-B14F-4D97-AF65-F5344CB8AC3E}">
        <p14:creationId xmlns:p14="http://schemas.microsoft.com/office/powerpoint/2010/main" val="30683045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953AE5-BB9A-63CB-8A41-18FD03B0EF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7C9E0D-E8CA-FD99-5C62-257585A0D9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1EF40C-C81B-E4D9-49CD-9F330DC87F67}"/>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30B13CE-4972-95B6-2EA2-FF5673857CE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441894A-647E-18CE-1679-13D31FC94F9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ADF2D3E-0A0E-3FFD-A015-871690794193}"/>
              </a:ext>
            </a:extLst>
          </p:cNvPr>
          <p:cNvSpPr>
            <a:spLocks noGrp="1"/>
          </p:cNvSpPr>
          <p:nvPr>
            <p:ph type="sldNum" sz="quarter" idx="5"/>
          </p:nvPr>
        </p:nvSpPr>
        <p:spPr/>
        <p:txBody>
          <a:bodyPr/>
          <a:lstStyle/>
          <a:p>
            <a:fld id="{F26CA750-A413-461A-ACF7-A597AE5AD928}" type="slidenum">
              <a:rPr lang="en-US" smtClean="0"/>
              <a:pPr/>
              <a:t>56</a:t>
            </a:fld>
            <a:endParaRPr lang="en-US"/>
          </a:p>
        </p:txBody>
      </p:sp>
    </p:spTree>
    <p:extLst>
      <p:ext uri="{BB962C8B-B14F-4D97-AF65-F5344CB8AC3E}">
        <p14:creationId xmlns:p14="http://schemas.microsoft.com/office/powerpoint/2010/main" val="310041780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4F17F-E777-4E9E-943A-708BD0D84D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19B5DE-BFB9-6D1A-4C08-A53A45C78B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FED092-855D-7947-E206-B6A03B7D7C07}"/>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14780004-36F3-B61D-F778-D15DC5402333}"/>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2B0E4A13-F127-E0C5-F136-0E943E6A412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82F4CD6-6964-F5AD-6A9A-7020183939A4}"/>
              </a:ext>
            </a:extLst>
          </p:cNvPr>
          <p:cNvSpPr>
            <a:spLocks noGrp="1"/>
          </p:cNvSpPr>
          <p:nvPr>
            <p:ph type="sldNum" sz="quarter" idx="5"/>
          </p:nvPr>
        </p:nvSpPr>
        <p:spPr/>
        <p:txBody>
          <a:bodyPr/>
          <a:lstStyle/>
          <a:p>
            <a:fld id="{F26CA750-A413-461A-ACF7-A597AE5AD928}" type="slidenum">
              <a:rPr lang="en-US" smtClean="0"/>
              <a:pPr/>
              <a:t>57</a:t>
            </a:fld>
            <a:endParaRPr lang="en-US"/>
          </a:p>
        </p:txBody>
      </p:sp>
    </p:spTree>
    <p:extLst>
      <p:ext uri="{BB962C8B-B14F-4D97-AF65-F5344CB8AC3E}">
        <p14:creationId xmlns:p14="http://schemas.microsoft.com/office/powerpoint/2010/main" val="38310894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58</a:t>
            </a:fld>
            <a:endParaRPr lang="en-US"/>
          </a:p>
        </p:txBody>
      </p:sp>
    </p:spTree>
    <p:extLst>
      <p:ext uri="{BB962C8B-B14F-4D97-AF65-F5344CB8AC3E}">
        <p14:creationId xmlns:p14="http://schemas.microsoft.com/office/powerpoint/2010/main" val="2003213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4C5D2-BEA9-0986-8C76-DF462DC0F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417550-709E-2693-C73A-63B97134CE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4D668C-1839-DA99-9099-23902B902BDA}"/>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DD3C4C8A-B3DC-2EAB-4A93-C50E2F6E7F5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827864C-0A82-8E31-21E2-D059D36ED21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1EA1A7C-B1A5-1785-651B-D3118F9D6463}"/>
              </a:ext>
            </a:extLst>
          </p:cNvPr>
          <p:cNvSpPr>
            <a:spLocks noGrp="1"/>
          </p:cNvSpPr>
          <p:nvPr>
            <p:ph type="sldNum" sz="quarter" idx="5"/>
          </p:nvPr>
        </p:nvSpPr>
        <p:spPr/>
        <p:txBody>
          <a:bodyPr/>
          <a:lstStyle/>
          <a:p>
            <a:fld id="{F26CA750-A413-461A-ACF7-A597AE5AD928}" type="slidenum">
              <a:rPr lang="en-US" smtClean="0"/>
              <a:pPr/>
              <a:t>6</a:t>
            </a:fld>
            <a:endParaRPr lang="en-US"/>
          </a:p>
        </p:txBody>
      </p:sp>
    </p:spTree>
    <p:extLst>
      <p:ext uri="{BB962C8B-B14F-4D97-AF65-F5344CB8AC3E}">
        <p14:creationId xmlns:p14="http://schemas.microsoft.com/office/powerpoint/2010/main" val="2376306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B0DC0-6389-1739-5A0A-159958A225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813B57-4056-236D-C8EC-54D88EAADC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FCDAFF-DBE5-3747-C053-72979D31EF17}"/>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35E1FECF-5E0C-8097-69C3-2BD65CEC41D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20D02889-16CC-9C36-F55C-6BD32852CC1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EC783BC-5C59-C193-B3F7-F0A3BAA363E9}"/>
              </a:ext>
            </a:extLst>
          </p:cNvPr>
          <p:cNvSpPr>
            <a:spLocks noGrp="1"/>
          </p:cNvSpPr>
          <p:nvPr>
            <p:ph type="sldNum" sz="quarter" idx="5"/>
          </p:nvPr>
        </p:nvSpPr>
        <p:spPr/>
        <p:txBody>
          <a:bodyPr/>
          <a:lstStyle/>
          <a:p>
            <a:fld id="{F26CA750-A413-461A-ACF7-A597AE5AD928}" type="slidenum">
              <a:rPr lang="en-US" smtClean="0"/>
              <a:pPr/>
              <a:t>7</a:t>
            </a:fld>
            <a:endParaRPr lang="en-US"/>
          </a:p>
        </p:txBody>
      </p:sp>
    </p:spTree>
    <p:extLst>
      <p:ext uri="{BB962C8B-B14F-4D97-AF65-F5344CB8AC3E}">
        <p14:creationId xmlns:p14="http://schemas.microsoft.com/office/powerpoint/2010/main" val="28207893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079C9-31E6-6B8D-1CB5-516EDDFB61B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7F42B7-4A59-6181-F393-AC17FA32CE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7F8241-3525-F1B4-1FC4-202EECE23A23}"/>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5B3DF9AB-87B0-5B58-E0B6-9FD7416BF51D}"/>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070522B-5AE1-B0A8-A8A7-C066E609628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F11E2B3-802A-2FBE-49E4-31EC3CF078BB}"/>
              </a:ext>
            </a:extLst>
          </p:cNvPr>
          <p:cNvSpPr>
            <a:spLocks noGrp="1"/>
          </p:cNvSpPr>
          <p:nvPr>
            <p:ph type="sldNum" sz="quarter" idx="5"/>
          </p:nvPr>
        </p:nvSpPr>
        <p:spPr/>
        <p:txBody>
          <a:bodyPr/>
          <a:lstStyle/>
          <a:p>
            <a:fld id="{F26CA750-A413-461A-ACF7-A597AE5AD928}" type="slidenum">
              <a:rPr lang="en-US" smtClean="0"/>
              <a:pPr/>
              <a:t>8</a:t>
            </a:fld>
            <a:endParaRPr lang="en-US"/>
          </a:p>
        </p:txBody>
      </p:sp>
    </p:spTree>
    <p:extLst>
      <p:ext uri="{BB962C8B-B14F-4D97-AF65-F5344CB8AC3E}">
        <p14:creationId xmlns:p14="http://schemas.microsoft.com/office/powerpoint/2010/main" val="174842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B3C9F-E67A-E5A1-B858-FED5511E19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80E9EA-A5EF-1EEA-7685-3A2CDEE74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2A7B51-22E9-18AB-6706-27FF899AAACD}"/>
              </a:ext>
            </a:extLst>
          </p:cNvPr>
          <p:cNvSpPr>
            <a:spLocks noGrp="1"/>
          </p:cNvSpPr>
          <p:nvPr>
            <p:ph type="body" idx="1"/>
          </p:nvPr>
        </p:nvSpPr>
        <p:spPr/>
        <p:txBody>
          <a:bodyPr/>
          <a:lstStyle/>
          <a:p>
            <a:endParaRPr lang="en-US" b="0"/>
          </a:p>
        </p:txBody>
      </p:sp>
      <p:sp>
        <p:nvSpPr>
          <p:cNvPr id="4" name="Date Placeholder 3">
            <a:extLst>
              <a:ext uri="{FF2B5EF4-FFF2-40B4-BE49-F238E27FC236}">
                <a16:creationId xmlns:a16="http://schemas.microsoft.com/office/drawing/2014/main" id="{AB5EB25E-1368-245A-592D-F6343EF8A08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60F047E-FD2E-4C91-1138-A38E7933970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F803BBE-8EC2-6A1B-6A93-12B0E4DDC5C2}"/>
              </a:ext>
            </a:extLst>
          </p:cNvPr>
          <p:cNvSpPr>
            <a:spLocks noGrp="1"/>
          </p:cNvSpPr>
          <p:nvPr>
            <p:ph type="sldNum" sz="quarter" idx="5"/>
          </p:nvPr>
        </p:nvSpPr>
        <p:spPr/>
        <p:txBody>
          <a:bodyPr/>
          <a:lstStyle/>
          <a:p>
            <a:fld id="{F26CA750-A413-461A-ACF7-A597AE5AD928}" type="slidenum">
              <a:rPr lang="en-US" smtClean="0"/>
              <a:pPr/>
              <a:t>9</a:t>
            </a:fld>
            <a:endParaRPr lang="en-US"/>
          </a:p>
        </p:txBody>
      </p:sp>
    </p:spTree>
    <p:extLst>
      <p:ext uri="{BB962C8B-B14F-4D97-AF65-F5344CB8AC3E}">
        <p14:creationId xmlns:p14="http://schemas.microsoft.com/office/powerpoint/2010/main" val="1621745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20.jpe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3.bin"/><Relationship Id="rId9" Type="http://schemas.openxmlformats.org/officeDocument/2006/relationships/image" Target="../media/image19.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0.png"/><Relationship Id="rId5" Type="http://schemas.openxmlformats.org/officeDocument/2006/relationships/image" Target="../media/image13.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p:bg bwMode="gray">
      <p:bgPr>
        <a:gradFill>
          <a:gsLst>
            <a:gs pos="95000">
              <a:srgbClr val="0F56F5"/>
            </a:gs>
            <a:gs pos="0">
              <a:srgbClr val="0032A0"/>
            </a:gs>
          </a:gsLst>
          <a:lin ang="18000000" scaled="0"/>
        </a:gra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BA653C-1641-BB25-7F59-7FCB85876516}"/>
              </a:ext>
            </a:extLst>
          </p:cNvPr>
          <p:cNvGraphicFramePr>
            <a:graphicFrameLocks noChangeAspect="1"/>
          </p:cNvGraphicFramePr>
          <p:nvPr userDrawn="1">
            <p:custDataLst>
              <p:tags r:id="rId1"/>
            </p:custDataLst>
            <p:extLst>
              <p:ext uri="{D42A27DB-BD31-4B8C-83A1-F6EECF244321}">
                <p14:modId xmlns:p14="http://schemas.microsoft.com/office/powerpoint/2010/main" val="340953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Object 15" hidden="1">
                        <a:extLst>
                          <a:ext uri="{FF2B5EF4-FFF2-40B4-BE49-F238E27FC236}">
                            <a16:creationId xmlns:a16="http://schemas.microsoft.com/office/drawing/2014/main" id="{F4BA653C-1641-BB25-7F59-7FCB858765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BE5C66AF-305F-CE7F-6B7A-A9D983F5E16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8440" t="17821" r="32079" b="19515"/>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5896"/>
            <a:ext cx="8136000" cy="1292662"/>
          </a:xfrm>
        </p:spPr>
        <p:txBody>
          <a:bodyPr vert="horz"/>
          <a:lstStyle>
            <a:lvl1pPr>
              <a:lnSpc>
                <a:spcPct val="100000"/>
              </a:lnSpc>
              <a:defRPr sz="4200">
                <a:solidFill>
                  <a:schemeClr val="bg1"/>
                </a:solidFill>
              </a:defRPr>
            </a:lvl1pPr>
          </a:lstStyle>
          <a:p>
            <a:r>
              <a:rPr lang="en-US" noProof="0"/>
              <a:t>Click to edit presentation title (maximum three lines)</a:t>
            </a:r>
          </a:p>
        </p:txBody>
      </p:sp>
      <p:pic>
        <p:nvPicPr>
          <p:cNvPr id="8" name="Graphic 7">
            <a:extLst>
              <a:ext uri="{FF2B5EF4-FFF2-40B4-BE49-F238E27FC236}">
                <a16:creationId xmlns:a16="http://schemas.microsoft.com/office/drawing/2014/main" id="{7FA00D01-88D2-BB9C-A6D5-F3669956DEE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19587" y="1882288"/>
            <a:ext cx="450000" cy="304225"/>
          </a:xfrm>
          <a:prstGeom prst="rect">
            <a:avLst/>
          </a:prstGeom>
        </p:spPr>
      </p:pic>
      <p:sp>
        <p:nvSpPr>
          <p:cNvPr id="11" name="Text Placeholder 10">
            <a:extLst>
              <a:ext uri="{FF2B5EF4-FFF2-40B4-BE49-F238E27FC236}">
                <a16:creationId xmlns:a16="http://schemas.microsoft.com/office/drawing/2014/main" id="{F2447F1F-2883-B030-A7CD-52369D7BA588}"/>
              </a:ext>
            </a:extLst>
          </p:cNvPr>
          <p:cNvSpPr>
            <a:spLocks noGrp="1"/>
          </p:cNvSpPr>
          <p:nvPr>
            <p:ph type="body" sz="quarter" idx="10" hasCustomPrompt="1"/>
          </p:nvPr>
        </p:nvSpPr>
        <p:spPr bwMode="gray">
          <a:xfrm>
            <a:off x="1233362" y="4334542"/>
            <a:ext cx="81360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location, Date (MM/DD/YYYY)</a:t>
            </a:r>
          </a:p>
        </p:txBody>
      </p:sp>
      <p:sp>
        <p:nvSpPr>
          <p:cNvPr id="60" name="Footer Placeholder 59">
            <a:extLst>
              <a:ext uri="{FF2B5EF4-FFF2-40B4-BE49-F238E27FC236}">
                <a16:creationId xmlns:a16="http://schemas.microsoft.com/office/drawing/2014/main" id="{CFE3FC32-EBB7-6C7B-3BD4-1C988C29C5FB}"/>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3835742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itle &amp; Text (two column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424133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p:txBody>
          <a:bodyPr/>
          <a:lstStyle/>
          <a:p>
            <a:fld id="{FF5429F1-DD4E-4B72-A998-E41442BA40CC}"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632489B0-78E8-0F75-27F6-3A34392DC868}"/>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72684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Title &amp; Text (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260625812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Text (two columns), Log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8333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lvl1pPr>
          </a:lstStyle>
          <a:p>
            <a:r>
              <a:rPr lang="en-US"/>
              <a:t>Click to edit slide title </a:t>
            </a:r>
            <a:br>
              <a:rPr lang="en-US"/>
            </a:br>
            <a:r>
              <a:rPr lang="en-US"/>
              <a:t>(maximum two lines)</a:t>
            </a:r>
            <a:endParaRPr lang="de-DE"/>
          </a:p>
        </p:txBody>
      </p:sp>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p>
            <a:fld id="{7FC83122-FF18-47D5-9032-D91559B3616E}"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pic>
        <p:nvPicPr>
          <p:cNvPr id="23" name="Graphic 22">
            <a:extLst>
              <a:ext uri="{FF2B5EF4-FFF2-40B4-BE49-F238E27FC236}">
                <a16:creationId xmlns:a16="http://schemas.microsoft.com/office/drawing/2014/main" id="{81E2478B-0B2F-95F3-5466-55FCA7E4D8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43372" y="478326"/>
            <a:ext cx="1690873" cy="486000"/>
          </a:xfrm>
          <a:prstGeom prst="rect">
            <a:avLst/>
          </a:prstGeom>
        </p:spPr>
      </p:pic>
    </p:spTree>
    <p:extLst>
      <p:ext uri="{BB962C8B-B14F-4D97-AF65-F5344CB8AC3E}">
        <p14:creationId xmlns:p14="http://schemas.microsoft.com/office/powerpoint/2010/main" val="1485466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77955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2082EE6-CD78-3F8B-C114-E8CF48E7C660}"/>
              </a:ext>
            </a:extLst>
          </p:cNvPr>
          <p:cNvSpPr>
            <a:spLocks noGrp="1"/>
          </p:cNvSpPr>
          <p:nvPr>
            <p:ph type="dt" sz="half" idx="10"/>
          </p:nvPr>
        </p:nvSpPr>
        <p:spPr/>
        <p:txBody>
          <a:bodyPr/>
          <a:lstStyle>
            <a:lvl1pPr>
              <a:defRPr>
                <a:solidFill>
                  <a:schemeClr val="bg1"/>
                </a:solidFill>
              </a:defRPr>
            </a:lvl1pPr>
          </a:lstStyle>
          <a:p>
            <a:fld id="{B793A68E-60E3-445E-89B8-229E864A3C5B}" type="datetime1">
              <a:rPr lang="en-GB" smtClean="0"/>
              <a:t>06/06/2025</a:t>
            </a:fld>
            <a:endParaRPr lang="en-US"/>
          </a:p>
        </p:txBody>
      </p:sp>
      <p:sp>
        <p:nvSpPr>
          <p:cNvPr id="8" name="Footer Placeholder 7">
            <a:extLst>
              <a:ext uri="{FF2B5EF4-FFF2-40B4-BE49-F238E27FC236}">
                <a16:creationId xmlns:a16="http://schemas.microsoft.com/office/drawing/2014/main" id="{48C9C312-F415-2217-0509-081EAE52C552}"/>
              </a:ext>
            </a:extLst>
          </p:cNvPr>
          <p:cNvSpPr>
            <a:spLocks noGrp="1"/>
          </p:cNvSpPr>
          <p:nvPr>
            <p:ph type="ftr" sz="quarter" idx="11"/>
          </p:nvPr>
        </p:nvSpPr>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3C3E4A83-24E3-A9B9-E3C0-FB781AB3519E}"/>
              </a:ext>
            </a:extLst>
          </p:cNvPr>
          <p:cNvSpPr>
            <a:spLocks noGrp="1"/>
          </p:cNvSpPr>
          <p:nvPr>
            <p:ph type="sldNum" sz="quarter" idx="12"/>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F257E147-0432-992A-4999-0165CE728AD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DA558801-8FF4-4CF2-0390-A1863422E95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699965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Title &amp; Text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340785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C5041275-D171-5EBB-179C-B1B7C2DF09C1}"/>
              </a:ext>
            </a:extLst>
          </p:cNvPr>
          <p:cNvSpPr>
            <a:spLocks noGrp="1"/>
          </p:cNvSpPr>
          <p:nvPr>
            <p:ph type="dt" sz="half" idx="14"/>
          </p:nvPr>
        </p:nvSpPr>
        <p:spPr/>
        <p:txBody>
          <a:bodyPr/>
          <a:lstStyle>
            <a:lvl1pPr>
              <a:defRPr>
                <a:solidFill>
                  <a:schemeClr val="bg1"/>
                </a:solidFill>
              </a:defRPr>
            </a:lvl1pPr>
          </a:lstStyle>
          <a:p>
            <a:fld id="{FB748F0D-0897-4749-AF42-157077E42B5B}" type="datetime1">
              <a:rPr lang="en-GB" smtClean="0"/>
              <a:t>06/06/2025</a:t>
            </a:fld>
            <a:endParaRPr lang="en-US"/>
          </a:p>
        </p:txBody>
      </p:sp>
      <p:sp>
        <p:nvSpPr>
          <p:cNvPr id="5" name="Footer Placeholder 4">
            <a:extLst>
              <a:ext uri="{FF2B5EF4-FFF2-40B4-BE49-F238E27FC236}">
                <a16:creationId xmlns:a16="http://schemas.microsoft.com/office/drawing/2014/main" id="{E8380A58-A7CE-184E-339F-1FA31E15931B}"/>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484DC5A-73D9-BBD5-8C06-8DEC31EB8104}"/>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CAEBA570-1376-DE98-03FD-87409A01805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9836A18E-DC5A-D7A0-EBFC-19B8990832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4097712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mp; Text two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115433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0DB09C1-7837-2412-9BE8-C2B74C12BB4A}"/>
              </a:ext>
            </a:extLst>
          </p:cNvPr>
          <p:cNvSpPr>
            <a:spLocks noGrp="1"/>
          </p:cNvSpPr>
          <p:nvPr>
            <p:ph type="dt" sz="half" idx="15"/>
          </p:nvPr>
        </p:nvSpPr>
        <p:spPr/>
        <p:txBody>
          <a:bodyPr/>
          <a:lstStyle>
            <a:lvl1pPr>
              <a:defRPr>
                <a:solidFill>
                  <a:schemeClr val="bg1"/>
                </a:solidFill>
              </a:defRPr>
            </a:lvl1pPr>
          </a:lstStyle>
          <a:p>
            <a:fld id="{23AD3AF3-662D-4935-9942-F0565C25FF0C}" type="datetime1">
              <a:rPr lang="en-GB" smtClean="0"/>
              <a:t>06/06/2025</a:t>
            </a:fld>
            <a:endParaRPr lang="en-US"/>
          </a:p>
        </p:txBody>
      </p:sp>
      <p:sp>
        <p:nvSpPr>
          <p:cNvPr id="4" name="Footer Placeholder 3">
            <a:extLst>
              <a:ext uri="{FF2B5EF4-FFF2-40B4-BE49-F238E27FC236}">
                <a16:creationId xmlns:a16="http://schemas.microsoft.com/office/drawing/2014/main" id="{0DFBDB4C-C6FA-1D1C-2066-066A0457E7A8}"/>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3188D962-4877-5BA4-5200-B28BDABD4B39}"/>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89FE51BB-D8FA-7440-D454-EBFC704FAC0B}"/>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60D3AA67-CF63-E95B-415C-73DCF8F96B6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305725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amp; Text three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26977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DE3EA50-352E-3FC1-0A4C-0F9A6095F4F4}"/>
              </a:ext>
            </a:extLst>
          </p:cNvPr>
          <p:cNvSpPr>
            <a:spLocks noGrp="1"/>
          </p:cNvSpPr>
          <p:nvPr>
            <p:ph type="dt" sz="half" idx="22"/>
          </p:nvPr>
        </p:nvSpPr>
        <p:spPr/>
        <p:txBody>
          <a:bodyPr/>
          <a:lstStyle>
            <a:lvl1pPr>
              <a:defRPr>
                <a:solidFill>
                  <a:schemeClr val="bg1"/>
                </a:solidFill>
              </a:defRPr>
            </a:lvl1pPr>
          </a:lstStyle>
          <a:p>
            <a:fld id="{48DC6FE1-3514-4E6D-8CDF-A86EDD45B956}" type="datetime1">
              <a:rPr lang="en-GB" smtClean="0"/>
              <a:t>06/06/2025</a:t>
            </a:fld>
            <a:endParaRPr lang="en-US"/>
          </a:p>
        </p:txBody>
      </p:sp>
      <p:sp>
        <p:nvSpPr>
          <p:cNvPr id="4" name="Footer Placeholder 3">
            <a:extLst>
              <a:ext uri="{FF2B5EF4-FFF2-40B4-BE49-F238E27FC236}">
                <a16:creationId xmlns:a16="http://schemas.microsoft.com/office/drawing/2014/main" id="{569E6FAE-1DF7-049F-34DC-FCAA8D63F32D}"/>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F933891B-6988-1CA8-DCF1-C72599B70BD3}"/>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5D9447B7-8759-7447-C6E6-3A02BDDAB61A}"/>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33905F99-7B2B-0B79-3E2F-557EE9094D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168782120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Title &amp; Text (two columns) ,Logo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91372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solidFill>
                  <a:schemeClr val="bg1"/>
                </a:solidFill>
              </a:defRPr>
            </a:lvl1pPr>
          </a:lstStyle>
          <a:p>
            <a:r>
              <a:rPr lang="en-US"/>
              <a:t>Click to edit slide title </a:t>
            </a:r>
            <a:br>
              <a:rPr lang="en-US"/>
            </a:br>
            <a:r>
              <a:rPr lang="en-US"/>
              <a:t>(maximum two lines)</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lvl1pPr>
              <a:defRPr>
                <a:solidFill>
                  <a:schemeClr val="bg1"/>
                </a:solidFill>
              </a:defRPr>
            </a:lvl1pPr>
          </a:lstStyle>
          <a:p>
            <a:fld id="{6204C6CD-4504-438F-9B9B-CCFBC1CBA0E5}"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pic>
        <p:nvPicPr>
          <p:cNvPr id="6" name="Graphic 5">
            <a:extLst>
              <a:ext uri="{FF2B5EF4-FFF2-40B4-BE49-F238E27FC236}">
                <a16:creationId xmlns:a16="http://schemas.microsoft.com/office/drawing/2014/main" id="{C07ECC1D-2D01-CC67-0114-98365E21FAF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442800" y="478800"/>
            <a:ext cx="1690876" cy="486000"/>
          </a:xfrm>
          <a:prstGeom prst="rect">
            <a:avLst/>
          </a:prstGeom>
        </p:spPr>
      </p:pic>
      <p:sp>
        <p:nvSpPr>
          <p:cNvPr id="5" name="Text Placeholder 13">
            <a:extLst>
              <a:ext uri="{FF2B5EF4-FFF2-40B4-BE49-F238E27FC236}">
                <a16:creationId xmlns:a16="http://schemas.microsoft.com/office/drawing/2014/main" id="{AFA834BD-2E12-A137-AB7B-FBBE1D90795D}"/>
              </a:ext>
            </a:extLst>
          </p:cNvPr>
          <p:cNvSpPr>
            <a:spLocks noGrp="1"/>
          </p:cNvSpPr>
          <p:nvPr>
            <p:ph type="body" sz="quarter" idx="13" hasCustomPrompt="1"/>
          </p:nvPr>
        </p:nvSpPr>
        <p:spPr>
          <a:xfrm>
            <a:off x="442913"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ext Placeholder 13">
            <a:extLst>
              <a:ext uri="{FF2B5EF4-FFF2-40B4-BE49-F238E27FC236}">
                <a16:creationId xmlns:a16="http://schemas.microsoft.com/office/drawing/2014/main" id="{15778897-3673-1BAB-2525-09549CAB0E70}"/>
              </a:ext>
            </a:extLst>
          </p:cNvPr>
          <p:cNvSpPr>
            <a:spLocks noGrp="1"/>
          </p:cNvSpPr>
          <p:nvPr>
            <p:ph type="body" sz="quarter" idx="14" hasCustomPrompt="1"/>
          </p:nvPr>
        </p:nvSpPr>
        <p:spPr>
          <a:xfrm>
            <a:off x="6276020"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947645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mp; Image (brigh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A45911B5-A26C-46AE-6F01-8A86570BBA97}"/>
              </a:ext>
            </a:extLst>
          </p:cNvPr>
          <p:cNvSpPr>
            <a:spLocks noGrp="1"/>
          </p:cNvSpPr>
          <p:nvPr>
            <p:ph type="pic" sz="quarter" idx="19" hasCustomPrompt="1"/>
          </p:nvPr>
        </p:nvSpPr>
        <p:spPr>
          <a:xfrm>
            <a:off x="0" y="0"/>
            <a:ext cx="12192000" cy="6858000"/>
          </a:xfrm>
          <a:solidFill>
            <a:schemeClr val="bg2"/>
          </a:solidFill>
        </p:spPr>
        <p:txBody>
          <a:bodyPr lIns="36000" tIns="72000" anchor="t"/>
          <a:lstStyle>
            <a:lvl1pPr>
              <a:defRPr sz="1200" b="0">
                <a:solidFill>
                  <a:schemeClr val="tx1"/>
                </a:solidFill>
              </a:defRPr>
            </a:lvl1pPr>
            <a:lvl2pPr algn="l">
              <a:spcBef>
                <a:spcPts val="0"/>
              </a:spcBef>
              <a:defRPr lang="en-US" dirty="0"/>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108483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C658B36A-743E-4F86-AA45-6662286C60DE}"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2B2AEE01-9A55-76A6-8906-CC3C7292F5A8}"/>
              </a:ext>
            </a:extLst>
          </p:cNvPr>
          <p:cNvSpPr>
            <a:spLocks noGrp="1"/>
          </p:cNvSpPr>
          <p:nvPr>
            <p:ph type="title" hasCustomPrompt="1"/>
          </p:nvPr>
        </p:nvSpPr>
        <p:spPr>
          <a:xfrm>
            <a:off x="443372" y="379660"/>
            <a:ext cx="11305716" cy="984885"/>
          </a:xfrm>
        </p:spPr>
        <p:txBody>
          <a:bodyPr vert="horz"/>
          <a:lstStyle>
            <a:lvl1pPr>
              <a:defRPr/>
            </a:lvl1pPr>
          </a:lstStyle>
          <a:p>
            <a:r>
              <a:rPr lang="en-US" noProof="0"/>
              <a:t>Click to edit </a:t>
            </a:r>
            <a:r>
              <a:rPr lang="en-US"/>
              <a:t>slide title </a:t>
            </a:r>
            <a:br>
              <a:rPr lang="en-US"/>
            </a:br>
            <a:r>
              <a:rPr lang="en-US"/>
              <a:t>(maximum two lines)</a:t>
            </a:r>
            <a:endParaRPr lang="de-DE"/>
          </a:p>
        </p:txBody>
      </p:sp>
      <p:sp>
        <p:nvSpPr>
          <p:cNvPr id="15" name="Text Placeholder 14">
            <a:extLst>
              <a:ext uri="{FF2B5EF4-FFF2-40B4-BE49-F238E27FC236}">
                <a16:creationId xmlns:a16="http://schemas.microsoft.com/office/drawing/2014/main" id="{F7E9D5DF-4C04-15C3-49BE-3CCCE1D585C3}"/>
              </a:ext>
            </a:extLst>
          </p:cNvPr>
          <p:cNvSpPr>
            <a:spLocks noGrp="1"/>
          </p:cNvSpPr>
          <p:nvPr>
            <p:ph type="body" sz="quarter" idx="20"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38867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mp; Image (dark)">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FED6BFC-551A-D9EA-2E13-F9AF4A235AF4}"/>
              </a:ext>
            </a:extLst>
          </p:cNvPr>
          <p:cNvSpPr>
            <a:spLocks noGrp="1"/>
          </p:cNvSpPr>
          <p:nvPr>
            <p:ph type="pic" sz="quarter" idx="19" hasCustomPrompt="1"/>
          </p:nvPr>
        </p:nvSpPr>
        <p:spPr>
          <a:xfrm>
            <a:off x="0" y="0"/>
            <a:ext cx="12192000" cy="6858000"/>
          </a:xfrm>
          <a:solidFill>
            <a:schemeClr val="tx2"/>
          </a:solidFill>
        </p:spPr>
        <p:txBody>
          <a:bodyPr lIns="36000" tIns="72000" anchor="t"/>
          <a:lstStyle>
            <a:lvl1pPr>
              <a:defRPr sz="1200" b="0">
                <a:solidFill>
                  <a:schemeClr val="bg1"/>
                </a:solidFill>
              </a:defRPr>
            </a:lvl1pPr>
            <a:lvl2pPr algn="l">
              <a:spcBef>
                <a:spcPts val="0"/>
              </a:spcBef>
              <a:defRPr>
                <a:solidFill>
                  <a:schemeClr val="bg1"/>
                </a:solidFill>
              </a:defRPr>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296899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lvl1pPr>
              <a:defRPr>
                <a:solidFill>
                  <a:schemeClr val="bg1"/>
                </a:solidFill>
              </a:defRPr>
            </a:lvl1pPr>
          </a:lstStyle>
          <a:p>
            <a:fld id="{878FF03C-187C-4794-BC1C-4D34735945EA}"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166C928D-67FF-6510-ABEF-E1CDA23E8332}"/>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9" name="Text Placeholder 14">
            <a:extLst>
              <a:ext uri="{FF2B5EF4-FFF2-40B4-BE49-F238E27FC236}">
                <a16:creationId xmlns:a16="http://schemas.microsoft.com/office/drawing/2014/main" id="{BF3C9069-5601-3ADB-8A11-33E7109ABE52}"/>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10688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with Image">
    <p:bg bwMode="gray">
      <p:bgPr>
        <a:gradFill>
          <a:gsLst>
            <a:gs pos="95000">
              <a:srgbClr val="50E69B"/>
            </a:gs>
            <a:gs pos="53000">
              <a:srgbClr val="0F56F5"/>
            </a:gs>
            <a:gs pos="15000">
              <a:srgbClr val="0032A0"/>
            </a:gs>
          </a:gsLst>
          <a:lin ang="20220000" scaled="0"/>
        </a:gra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49236579-B2E3-6582-EC9D-0203808902B7}"/>
              </a:ext>
            </a:extLst>
          </p:cNvPr>
          <p:cNvSpPr>
            <a:spLocks noGrp="1" noChangeAspect="1"/>
          </p:cNvSpPr>
          <p:nvPr>
            <p:ph type="pic" sz="quarter" idx="11" hasCustomPrompt="1"/>
          </p:nvPr>
        </p:nvSpPr>
        <p:spPr bwMode="gray">
          <a:xfrm>
            <a:off x="0" y="1041793"/>
            <a:ext cx="12192000" cy="5816207"/>
          </a:xfrm>
          <a:custGeom>
            <a:avLst/>
            <a:gdLst>
              <a:gd name="connsiteX0" fmla="*/ 9692628 w 12192000"/>
              <a:gd name="connsiteY0" fmla="*/ 0 h 5816207"/>
              <a:gd name="connsiteX1" fmla="*/ 12192000 w 12192000"/>
              <a:gd name="connsiteY1" fmla="*/ 0 h 5816207"/>
              <a:gd name="connsiteX2" fmla="*/ 12192000 w 12192000"/>
              <a:gd name="connsiteY2" fmla="*/ 3303702 h 5816207"/>
              <a:gd name="connsiteX3" fmla="*/ 9739407 w 12192000"/>
              <a:gd name="connsiteY3" fmla="*/ 3303702 h 5816207"/>
              <a:gd name="connsiteX4" fmla="*/ 9739298 w 12192000"/>
              <a:gd name="connsiteY4" fmla="*/ 3303811 h 5816207"/>
              <a:gd name="connsiteX5" fmla="*/ 7535017 w 12192000"/>
              <a:gd name="connsiteY5" fmla="*/ 5334465 h 5816207"/>
              <a:gd name="connsiteX6" fmla="*/ 7495024 w 12192000"/>
              <a:gd name="connsiteY6" fmla="*/ 5693523 h 5816207"/>
              <a:gd name="connsiteX7" fmla="*/ 7480402 w 12192000"/>
              <a:gd name="connsiteY7" fmla="*/ 5816207 h 5816207"/>
              <a:gd name="connsiteX8" fmla="*/ 0 w 12192000"/>
              <a:gd name="connsiteY8" fmla="*/ 5816207 h 5816207"/>
              <a:gd name="connsiteX9" fmla="*/ 0 w 12192000"/>
              <a:gd name="connsiteY9" fmla="*/ 4657254 h 5816207"/>
              <a:gd name="connsiteX10" fmla="*/ 5393617 w 12192000"/>
              <a:gd name="connsiteY10" fmla="*/ 4657254 h 5816207"/>
              <a:gd name="connsiteX11" fmla="*/ 7568959 w 12192000"/>
              <a:gd name="connsiteY11" fmla="*/ 2784453 h 5816207"/>
              <a:gd name="connsiteX12" fmla="*/ 7704619 w 12192000"/>
              <a:gd name="connsiteY12" fmla="*/ 1675785 h 5816207"/>
              <a:gd name="connsiteX13" fmla="*/ 9692628 w 12192000"/>
              <a:gd name="connsiteY13" fmla="*/ 0 h 58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5816207">
                <a:moveTo>
                  <a:pt x="9692628" y="0"/>
                </a:moveTo>
                <a:lnTo>
                  <a:pt x="12192000" y="0"/>
                </a:lnTo>
                <a:lnTo>
                  <a:pt x="12192000" y="3303702"/>
                </a:lnTo>
                <a:lnTo>
                  <a:pt x="9739407" y="3303702"/>
                </a:lnTo>
                <a:lnTo>
                  <a:pt x="9739298" y="3303811"/>
                </a:lnTo>
                <a:cubicBezTo>
                  <a:pt x="8233333" y="3303811"/>
                  <a:pt x="7669698" y="4086656"/>
                  <a:pt x="7535017" y="5334465"/>
                </a:cubicBezTo>
                <a:cubicBezTo>
                  <a:pt x="7535017" y="5334465"/>
                  <a:pt x="7518210" y="5494603"/>
                  <a:pt x="7495024" y="5693523"/>
                </a:cubicBezTo>
                <a:lnTo>
                  <a:pt x="7480402" y="5816207"/>
                </a:lnTo>
                <a:lnTo>
                  <a:pt x="0" y="5816207"/>
                </a:lnTo>
                <a:lnTo>
                  <a:pt x="0" y="4657254"/>
                </a:lnTo>
                <a:lnTo>
                  <a:pt x="5393617" y="4657254"/>
                </a:lnTo>
                <a:cubicBezTo>
                  <a:pt x="6890662" y="4657254"/>
                  <a:pt x="7420028" y="3844710"/>
                  <a:pt x="7568959" y="2784453"/>
                </a:cubicBezTo>
                <a:cubicBezTo>
                  <a:pt x="7607906" y="2507911"/>
                  <a:pt x="7653597" y="1986050"/>
                  <a:pt x="7704619" y="1675785"/>
                </a:cubicBezTo>
                <a:cubicBezTo>
                  <a:pt x="7879008" y="610741"/>
                  <a:pt x="8501607" y="47105"/>
                  <a:pt x="9692628" y="0"/>
                </a:cubicBezTo>
                <a:close/>
              </a:path>
            </a:pathLst>
          </a:custGeom>
          <a:solidFill>
            <a:schemeClr val="bg2"/>
          </a:solidFill>
        </p:spPr>
        <p:txBody>
          <a:bodyPr wrap="square" lIns="72000" tIns="72000" rIns="72000" bIns="72000" anchor="b">
            <a:noAutofit/>
          </a:bodyPr>
          <a:lstStyle>
            <a:lvl1pPr algn="l">
              <a:lnSpc>
                <a:spcPct val="100000"/>
              </a:lnSpc>
              <a:defRPr/>
            </a:lvl1pPr>
            <a:lvl2pPr>
              <a:defRPr sz="1200" b="0">
                <a:solidFill>
                  <a:schemeClr val="accent1"/>
                </a:solidFill>
              </a:defRPr>
            </a:lvl2pPr>
          </a:lstStyle>
          <a:p>
            <a:pPr lvl="1"/>
            <a:r>
              <a:rPr lang="en-US" noProof="0"/>
              <a:t>Insert an image by clicking on the “Insert” tab and choosing the “Pictures” command.</a:t>
            </a:r>
          </a:p>
        </p:txBody>
      </p:sp>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321413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6400"/>
            <a:ext cx="5616000" cy="1938992"/>
          </a:xfrm>
        </p:spPr>
        <p:txBody>
          <a:bodyPr vert="horz"/>
          <a:lstStyle>
            <a:lvl1pPr>
              <a:lnSpc>
                <a:spcPct val="100000"/>
              </a:lnSpc>
              <a:defRPr sz="4200">
                <a:solidFill>
                  <a:schemeClr val="bg1"/>
                </a:solidFill>
              </a:defRPr>
            </a:lvl1pPr>
          </a:lstStyle>
          <a:p>
            <a:r>
              <a:rPr lang="en-US" noProof="0"/>
              <a:t>Click to edit  presentation title </a:t>
            </a:r>
            <a:br>
              <a:rPr lang="en-US" noProof="0"/>
            </a:br>
            <a:r>
              <a:rPr lang="en-US" noProof="0"/>
              <a:t>(max. three lines)</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919587" y="1882288"/>
            <a:ext cx="450000" cy="304225"/>
          </a:xfrm>
          <a:prstGeom prst="rect">
            <a:avLst/>
          </a:prstGeom>
        </p:spPr>
      </p:pic>
      <p:sp>
        <p:nvSpPr>
          <p:cNvPr id="36" name="Text Placeholder 10">
            <a:extLst>
              <a:ext uri="{FF2B5EF4-FFF2-40B4-BE49-F238E27FC236}">
                <a16:creationId xmlns:a16="http://schemas.microsoft.com/office/drawing/2014/main" id="{36ED798B-DCF6-0BC2-0064-B9DD07ACDE9B}"/>
              </a:ext>
            </a:extLst>
          </p:cNvPr>
          <p:cNvSpPr>
            <a:spLocks noGrp="1"/>
          </p:cNvSpPr>
          <p:nvPr>
            <p:ph type="body" sz="quarter" idx="10" hasCustomPrompt="1"/>
          </p:nvPr>
        </p:nvSpPr>
        <p:spPr bwMode="gray">
          <a:xfrm>
            <a:off x="1233362" y="4334542"/>
            <a:ext cx="5616000" cy="246221"/>
          </a:xfrm>
        </p:spPr>
        <p:txBody>
          <a:bodyPr wrap="square">
            <a:spAutoFit/>
          </a:bodyPr>
          <a:lstStyle>
            <a:lvl1pPr marL="0" indent="0">
              <a:lnSpc>
                <a:spcPct val="100000"/>
              </a:lnSpc>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the Location, Date (MM/DD/YYYY)</a:t>
            </a:r>
          </a:p>
        </p:txBody>
      </p:sp>
      <p:sp>
        <p:nvSpPr>
          <p:cNvPr id="3" name="Footer Placeholder 59">
            <a:extLst>
              <a:ext uri="{FF2B5EF4-FFF2-40B4-BE49-F238E27FC236}">
                <a16:creationId xmlns:a16="http://schemas.microsoft.com/office/drawing/2014/main" id="{3EC1501B-F2CA-6AA4-BC63-D11AAF997D87}"/>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201666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Text Quote &amp; Image (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9DAA4E81-3667-47D5-AE52-F570DC487E7A}"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lvl1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3" name="Text Placeholder 14">
            <a:extLst>
              <a:ext uri="{FF2B5EF4-FFF2-40B4-BE49-F238E27FC236}">
                <a16:creationId xmlns:a16="http://schemas.microsoft.com/office/drawing/2014/main" id="{C50D4B94-E140-367E-1CCC-708F494CA4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2560737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Text Quote &amp; Image (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48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5D4C1F1-178F-444C-A6BB-D6A5C3EF507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48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CDA2F3B7-337C-EBF5-B959-649093902F67}"/>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517786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amp; 1/2 Image (brigh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1DD2C02-4F6F-43E0-A577-FB71D31AD4CD}"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D029107A-A02B-1CCB-EA62-F292543889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670333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mp; 1/2 Image (dark)">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054699C-4D03-4954-B7BD-C08D9DAB41E2}"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94A2EA91-F3CF-5CCF-E6D3-F97AFCF6DE36}"/>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900328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Images &amp; Text (white/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B2CCC1B1-7B46-4E2A-8305-56076DE7A56A}"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6" name="Text Placeholder 13">
            <a:extLst>
              <a:ext uri="{FF2B5EF4-FFF2-40B4-BE49-F238E27FC236}">
                <a16:creationId xmlns:a16="http://schemas.microsoft.com/office/drawing/2014/main" id="{8DA91E65-BAC9-35A0-B281-F84DCB058376}"/>
              </a:ext>
            </a:extLst>
          </p:cNvPr>
          <p:cNvSpPr>
            <a:spLocks noGrp="1"/>
          </p:cNvSpPr>
          <p:nvPr>
            <p:ph type="body" sz="quarter" idx="13" hasCustomPrompt="1"/>
          </p:nvPr>
        </p:nvSpPr>
        <p:spPr>
          <a:xfrm>
            <a:off x="442913"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8" name="Text Placeholder 13">
            <a:extLst>
              <a:ext uri="{FF2B5EF4-FFF2-40B4-BE49-F238E27FC236}">
                <a16:creationId xmlns:a16="http://schemas.microsoft.com/office/drawing/2014/main" id="{95FBD360-5231-B30C-CC97-B2FA6E24ADE8}"/>
              </a:ext>
            </a:extLst>
          </p:cNvPr>
          <p:cNvSpPr>
            <a:spLocks noGrp="1"/>
          </p:cNvSpPr>
          <p:nvPr>
            <p:ph type="body" sz="quarter" idx="20" hasCustomPrompt="1"/>
          </p:nvPr>
        </p:nvSpPr>
        <p:spPr>
          <a:xfrm>
            <a:off x="4331184"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Text Placeholder 13">
            <a:extLst>
              <a:ext uri="{FF2B5EF4-FFF2-40B4-BE49-F238E27FC236}">
                <a16:creationId xmlns:a16="http://schemas.microsoft.com/office/drawing/2014/main" id="{7BD3398C-263C-F5D3-3D8C-FF28537E66A8}"/>
              </a:ext>
            </a:extLst>
          </p:cNvPr>
          <p:cNvSpPr>
            <a:spLocks noGrp="1"/>
          </p:cNvSpPr>
          <p:nvPr>
            <p:ph type="body" sz="quarter" idx="21" hasCustomPrompt="1"/>
          </p:nvPr>
        </p:nvSpPr>
        <p:spPr>
          <a:xfrm>
            <a:off x="8219616"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34863870"/>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Title, Text, Quote &amp; Image (blue/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E1DB7BED-1188-42BF-A643-C0EFCAF52E17}"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Text Placeholder 14">
            <a:extLst>
              <a:ext uri="{FF2B5EF4-FFF2-40B4-BE49-F238E27FC236}">
                <a16:creationId xmlns:a16="http://schemas.microsoft.com/office/drawing/2014/main" id="{E41E84A2-815A-E084-57F0-344251AAE7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239326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Text, Quote &amp; Image (blue/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5E9A8A12-53B1-46C3-A116-9E3D0451F07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39387BED-7687-1FDE-151A-E3E4DE8660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473227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Text &amp; 1/2 Image (blue/bright)">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F54DC58-F2AF-4223-BFC2-7636316C6EE1}"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9DB821E3-7AD5-2A50-2937-4D542F800644}"/>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912344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Text &amp; 1/2 Image (blue/dark)">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1EC1084D-3547-4FE9-A50D-015207819B3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276F8614-5C75-29B6-1184-08348104C74C}"/>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451251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itle, Images &amp; Text (blue/three columns)">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lvl1pPr>
              <a:defRPr>
                <a:solidFill>
                  <a:schemeClr val="bg1"/>
                </a:solidFill>
              </a:defRPr>
            </a:lvl1pPr>
          </a:lstStyle>
          <a:p>
            <a:fld id="{DE580332-3123-4876-82DC-035C36CD3F0D}"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8" name="Text Placeholder 13">
            <a:extLst>
              <a:ext uri="{FF2B5EF4-FFF2-40B4-BE49-F238E27FC236}">
                <a16:creationId xmlns:a16="http://schemas.microsoft.com/office/drawing/2014/main" id="{5C9F62CD-F2A3-A408-B558-1B79296F7126}"/>
              </a:ext>
            </a:extLst>
          </p:cNvPr>
          <p:cNvSpPr>
            <a:spLocks noGrp="1"/>
          </p:cNvSpPr>
          <p:nvPr>
            <p:ph type="body" sz="quarter" idx="13" hasCustomPrompt="1"/>
          </p:nvPr>
        </p:nvSpPr>
        <p:spPr>
          <a:xfrm>
            <a:off x="442913"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Text Placeholder 13">
            <a:extLst>
              <a:ext uri="{FF2B5EF4-FFF2-40B4-BE49-F238E27FC236}">
                <a16:creationId xmlns:a16="http://schemas.microsoft.com/office/drawing/2014/main" id="{8B138EFC-7547-63FD-2341-EE37FB3A1CD2}"/>
              </a:ext>
            </a:extLst>
          </p:cNvPr>
          <p:cNvSpPr>
            <a:spLocks noGrp="1"/>
          </p:cNvSpPr>
          <p:nvPr>
            <p:ph type="body" sz="quarter" idx="20" hasCustomPrompt="1"/>
          </p:nvPr>
        </p:nvSpPr>
        <p:spPr>
          <a:xfrm>
            <a:off x="4331184"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 Placeholder 13">
            <a:extLst>
              <a:ext uri="{FF2B5EF4-FFF2-40B4-BE49-F238E27FC236}">
                <a16:creationId xmlns:a16="http://schemas.microsoft.com/office/drawing/2014/main" id="{C15BDC80-D17A-8B1D-27E4-09CFF54B2067}"/>
              </a:ext>
            </a:extLst>
          </p:cNvPr>
          <p:cNvSpPr>
            <a:spLocks noGrp="1"/>
          </p:cNvSpPr>
          <p:nvPr>
            <p:ph type="body" sz="quarter" idx="21" hasCustomPrompt="1"/>
          </p:nvPr>
        </p:nvSpPr>
        <p:spPr>
          <a:xfrm>
            <a:off x="8219616"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pic>
        <p:nvPicPr>
          <p:cNvPr id="12" name="Picture 11">
            <a:extLst>
              <a:ext uri="{FF2B5EF4-FFF2-40B4-BE49-F238E27FC236}">
                <a16:creationId xmlns:a16="http://schemas.microsoft.com/office/drawing/2014/main" id="{747B0ACE-4FFE-3904-A877-73A01AF5D9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615264032"/>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9731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2800"/>
            <a:ext cx="3528000" cy="569387"/>
          </a:xfrm>
        </p:spPr>
        <p:txBody>
          <a:bodyPr wrap="square">
            <a:spAutoFit/>
          </a:bodyPr>
          <a:lstStyle>
            <a:lvl1pPr marL="252000" indent="-252000">
              <a:lnSpc>
                <a:spcPct val="100000"/>
              </a:lnSpc>
              <a:spcAft>
                <a:spcPts val="0"/>
              </a:spcAft>
              <a:buFont typeface="+mj-lt"/>
              <a:buAutoNum type="arabicPeriod"/>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highlight>
                  <a:srgbClr val="FF0000"/>
                </a:highlight>
              </a:defRPr>
            </a:lvl3pPr>
            <a:lvl4pPr marL="252000" indent="0">
              <a:lnSpc>
                <a:spcPct val="100000"/>
              </a:lnSpc>
              <a:spcBef>
                <a:spcPts val="200"/>
              </a:spcBef>
              <a:buNone/>
              <a:defRPr sz="1600">
                <a:solidFill>
                  <a:schemeClr val="accent1"/>
                </a:solidFill>
                <a:highlight>
                  <a:srgbClr val="FF0000"/>
                </a:highlight>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1.1 Click to edit subpoint</a:t>
            </a:r>
          </a:p>
        </p:txBody>
      </p:sp>
      <p:sp>
        <p:nvSpPr>
          <p:cNvPr id="17" name="Text Placeholder 10">
            <a:extLst>
              <a:ext uri="{FF2B5EF4-FFF2-40B4-BE49-F238E27FC236}">
                <a16:creationId xmlns:a16="http://schemas.microsoft.com/office/drawing/2014/main" id="{1D9B2E04-0F44-CBFA-894A-0B0096469B8E}"/>
              </a:ext>
            </a:extLst>
          </p:cNvPr>
          <p:cNvSpPr>
            <a:spLocks noGrp="1"/>
          </p:cNvSpPr>
          <p:nvPr>
            <p:ph type="body" sz="quarter" idx="19" hasCustomPrompt="1"/>
          </p:nvPr>
        </p:nvSpPr>
        <p:spPr bwMode="gray">
          <a:xfrm>
            <a:off x="443372" y="3693420"/>
            <a:ext cx="3528000" cy="569387"/>
          </a:xfrm>
        </p:spPr>
        <p:txBody>
          <a:bodyPr wrap="square">
            <a:spAutoFit/>
          </a:bodyPr>
          <a:lstStyle>
            <a:lvl1pPr marL="252000" indent="-252000">
              <a:lnSpc>
                <a:spcPct val="100000"/>
              </a:lnSpc>
              <a:spcAft>
                <a:spcPts val="0"/>
              </a:spcAft>
              <a:buFont typeface="+mj-lt"/>
              <a:buAutoNum type="arabicPeriod" startAt="2"/>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2.1 Click to edit subpoint</a:t>
            </a:r>
          </a:p>
        </p:txBody>
      </p:sp>
      <p:sp>
        <p:nvSpPr>
          <p:cNvPr id="18" name="Text Placeholder 10">
            <a:extLst>
              <a:ext uri="{FF2B5EF4-FFF2-40B4-BE49-F238E27FC236}">
                <a16:creationId xmlns:a16="http://schemas.microsoft.com/office/drawing/2014/main" id="{6A3DE39E-151B-E2D7-3F18-49318C08F5C3}"/>
              </a:ext>
            </a:extLst>
          </p:cNvPr>
          <p:cNvSpPr>
            <a:spLocks noGrp="1"/>
          </p:cNvSpPr>
          <p:nvPr>
            <p:ph type="body" sz="quarter" idx="20" hasCustomPrompt="1"/>
          </p:nvPr>
        </p:nvSpPr>
        <p:spPr bwMode="gray">
          <a:xfrm>
            <a:off x="4331804" y="1882800"/>
            <a:ext cx="3528000" cy="569387"/>
          </a:xfrm>
        </p:spPr>
        <p:txBody>
          <a:bodyPr wrap="square">
            <a:spAutoFit/>
          </a:bodyPr>
          <a:lstStyle>
            <a:lvl1pPr marL="252000" indent="-252000">
              <a:lnSpc>
                <a:spcPct val="100000"/>
              </a:lnSpc>
              <a:spcAft>
                <a:spcPts val="0"/>
              </a:spcAft>
              <a:buFont typeface="+mj-lt"/>
              <a:buAutoNum type="arabicPeriod" startAt="3"/>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3.1 Click to edit subpoint</a:t>
            </a:r>
          </a:p>
        </p:txBody>
      </p:sp>
      <p:sp>
        <p:nvSpPr>
          <p:cNvPr id="19" name="Text Placeholder 10">
            <a:extLst>
              <a:ext uri="{FF2B5EF4-FFF2-40B4-BE49-F238E27FC236}">
                <a16:creationId xmlns:a16="http://schemas.microsoft.com/office/drawing/2014/main" id="{4F668B5E-D5CC-8904-28E4-CD8138A5F377}"/>
              </a:ext>
            </a:extLst>
          </p:cNvPr>
          <p:cNvSpPr>
            <a:spLocks noGrp="1"/>
          </p:cNvSpPr>
          <p:nvPr>
            <p:ph type="body" sz="quarter" idx="21" hasCustomPrompt="1"/>
          </p:nvPr>
        </p:nvSpPr>
        <p:spPr bwMode="gray">
          <a:xfrm>
            <a:off x="4331804" y="3693420"/>
            <a:ext cx="3528000" cy="569387"/>
          </a:xfrm>
        </p:spPr>
        <p:txBody>
          <a:bodyPr wrap="square">
            <a:spAutoFit/>
          </a:bodyPr>
          <a:lstStyle>
            <a:lvl1pPr marL="252000" indent="-252000">
              <a:lnSpc>
                <a:spcPct val="100000"/>
              </a:lnSpc>
              <a:spcAft>
                <a:spcPts val="0"/>
              </a:spcAft>
              <a:buFont typeface="+mj-lt"/>
              <a:buAutoNum type="arabicPeriod" startAt="4"/>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4.1 Click to edit subpoint</a:t>
            </a:r>
          </a:p>
        </p:txBody>
      </p:sp>
      <p:sp>
        <p:nvSpPr>
          <p:cNvPr id="20" name="Text Placeholder 10">
            <a:extLst>
              <a:ext uri="{FF2B5EF4-FFF2-40B4-BE49-F238E27FC236}">
                <a16:creationId xmlns:a16="http://schemas.microsoft.com/office/drawing/2014/main" id="{CA4D94C5-F870-D03B-96F2-C9E1082289F6}"/>
              </a:ext>
            </a:extLst>
          </p:cNvPr>
          <p:cNvSpPr>
            <a:spLocks noGrp="1"/>
          </p:cNvSpPr>
          <p:nvPr>
            <p:ph type="body" sz="quarter" idx="22" hasCustomPrompt="1"/>
          </p:nvPr>
        </p:nvSpPr>
        <p:spPr bwMode="gray">
          <a:xfrm>
            <a:off x="8220236" y="1882800"/>
            <a:ext cx="3528000" cy="569387"/>
          </a:xfrm>
        </p:spPr>
        <p:txBody>
          <a:bodyPr wrap="square">
            <a:spAutoFit/>
          </a:bodyPr>
          <a:lstStyle>
            <a:lvl1pPr marL="252000" indent="-252000">
              <a:lnSpc>
                <a:spcPct val="100000"/>
              </a:lnSpc>
              <a:spcAft>
                <a:spcPts val="0"/>
              </a:spcAft>
              <a:buFont typeface="+mj-lt"/>
              <a:buAutoNum type="arabicPeriod" startAt="5"/>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5.1 Click to edit subpoint</a:t>
            </a:r>
          </a:p>
        </p:txBody>
      </p:sp>
      <p:sp>
        <p:nvSpPr>
          <p:cNvPr id="21" name="Text Placeholder 10">
            <a:extLst>
              <a:ext uri="{FF2B5EF4-FFF2-40B4-BE49-F238E27FC236}">
                <a16:creationId xmlns:a16="http://schemas.microsoft.com/office/drawing/2014/main" id="{4CD7366E-5AB0-83BC-C18B-9F94BFB4080C}"/>
              </a:ext>
            </a:extLst>
          </p:cNvPr>
          <p:cNvSpPr>
            <a:spLocks noGrp="1"/>
          </p:cNvSpPr>
          <p:nvPr>
            <p:ph type="body" sz="quarter" idx="23" hasCustomPrompt="1"/>
          </p:nvPr>
        </p:nvSpPr>
        <p:spPr bwMode="gray">
          <a:xfrm>
            <a:off x="8220236" y="3693420"/>
            <a:ext cx="3528000" cy="569387"/>
          </a:xfrm>
        </p:spPr>
        <p:txBody>
          <a:bodyPr wrap="square">
            <a:spAutoFit/>
          </a:bodyPr>
          <a:lstStyle>
            <a:lvl1pPr marL="252000" indent="-252000">
              <a:lnSpc>
                <a:spcPct val="100000"/>
              </a:lnSpc>
              <a:spcAft>
                <a:spcPts val="0"/>
              </a:spcAft>
              <a:buFont typeface="+mj-lt"/>
              <a:buAutoNum type="arabicPeriod" startAt="6"/>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6.1 Click to edit subpoint</a:t>
            </a:r>
          </a:p>
        </p:txBody>
      </p:sp>
      <p:sp>
        <p:nvSpPr>
          <p:cNvPr id="6" name="Title 5">
            <a:extLst>
              <a:ext uri="{FF2B5EF4-FFF2-40B4-BE49-F238E27FC236}">
                <a16:creationId xmlns:a16="http://schemas.microsoft.com/office/drawing/2014/main" id="{2B5ACACE-0D64-8BFB-30C3-1CD614ECB6AD}"/>
              </a:ext>
            </a:extLst>
          </p:cNvPr>
          <p:cNvSpPr>
            <a:spLocks noGrp="1"/>
          </p:cNvSpPr>
          <p:nvPr>
            <p:ph type="title" hasCustomPrompt="1"/>
          </p:nvPr>
        </p:nvSpPr>
        <p:spPr>
          <a:xfrm>
            <a:off x="443372" y="379660"/>
            <a:ext cx="11305716" cy="492443"/>
          </a:xfrm>
        </p:spPr>
        <p:txBody>
          <a:bodyPr/>
          <a:lstStyle>
            <a:lvl1pPr>
              <a:defRPr/>
            </a:lvl1pPr>
          </a:lstStyle>
          <a:p>
            <a:r>
              <a:rPr lang="en-US"/>
              <a:t>Click to edit agenda placeholder</a:t>
            </a:r>
            <a:endParaRPr lang="en-GB"/>
          </a:p>
        </p:txBody>
      </p:sp>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pic>
        <p:nvPicPr>
          <p:cNvPr id="9" name="Graphic 8">
            <a:extLst>
              <a:ext uri="{FF2B5EF4-FFF2-40B4-BE49-F238E27FC236}">
                <a16:creationId xmlns:a16="http://schemas.microsoft.com/office/drawing/2014/main" id="{89C872B5-7A2B-0D7E-AE50-D0D02F54E7B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2220696106"/>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Title, Text &amp; Chart 01">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1600"/>
            <a:ext cx="5473700" cy="3420000"/>
          </a:xfrm>
          <a:noFill/>
        </p:spPr>
        <p:txBody>
          <a:bodyPr/>
          <a:lstStyle>
            <a:lvl1pPr>
              <a:defRPr sz="1400" b="0"/>
            </a:lvl1pPr>
          </a:lstStyle>
          <a:p>
            <a:pPr lvl="0"/>
            <a:r>
              <a:rPr lang="en-AU"/>
              <a:t>Add chart by clicking on icon</a:t>
            </a:r>
            <a:endParaRPr lang="en-GB"/>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6"/>
            <a:ext cx="5473700" cy="37800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037"/>
            <a:ext cx="54684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5706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Title, Text &amp; Chart 0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9"/>
            <a:ext cx="3529012" cy="3780000"/>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1498A2AB-8D96-47A3-13FF-85FDD837CA29}"/>
              </a:ext>
            </a:extLst>
          </p:cNvPr>
          <p:cNvSpPr>
            <a:spLocks noGrp="1"/>
          </p:cNvSpPr>
          <p:nvPr>
            <p:ph type="body" sz="quarter" idx="17" hasCustomPrompt="1"/>
          </p:nvPr>
        </p:nvSpPr>
        <p:spPr bwMode="invGray">
          <a:xfrm>
            <a:off x="4332288" y="1881188"/>
            <a:ext cx="741316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6" name="Text Placeholder 10">
            <a:extLst>
              <a:ext uri="{FF2B5EF4-FFF2-40B4-BE49-F238E27FC236}">
                <a16:creationId xmlns:a16="http://schemas.microsoft.com/office/drawing/2014/main" id="{A42CE36F-0E28-0E78-4EAF-E83A3B440AAF}"/>
              </a:ext>
            </a:extLst>
          </p:cNvPr>
          <p:cNvSpPr>
            <a:spLocks noGrp="1"/>
          </p:cNvSpPr>
          <p:nvPr>
            <p:ph type="body" sz="quarter" idx="18" hasCustomPrompt="1"/>
          </p:nvPr>
        </p:nvSpPr>
        <p:spPr bwMode="invGray">
          <a:xfrm>
            <a:off x="4332655" y="2153654"/>
            <a:ext cx="741176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8" name="Chart Placeholder 12">
            <a:extLst>
              <a:ext uri="{FF2B5EF4-FFF2-40B4-BE49-F238E27FC236}">
                <a16:creationId xmlns:a16="http://schemas.microsoft.com/office/drawing/2014/main" id="{0D28D82E-3BBE-8C56-E8BE-F9E349A0FE27}"/>
              </a:ext>
            </a:extLst>
          </p:cNvPr>
          <p:cNvSpPr>
            <a:spLocks noGrp="1"/>
          </p:cNvSpPr>
          <p:nvPr>
            <p:ph type="chart" sz="quarter" idx="19" hasCustomPrompt="1"/>
          </p:nvPr>
        </p:nvSpPr>
        <p:spPr>
          <a:xfrm>
            <a:off x="4332288" y="2457272"/>
            <a:ext cx="7416800" cy="3420000"/>
          </a:xfrm>
          <a:noFill/>
        </p:spPr>
        <p:txBody>
          <a:bodyPr/>
          <a:lstStyle>
            <a:lvl1pPr>
              <a:defRPr sz="1400" b="0"/>
            </a:lvl1pPr>
          </a:lstStyle>
          <a:p>
            <a:pPr lvl="0"/>
            <a:r>
              <a:rPr lang="en-US"/>
              <a:t>Add chart by clicking on icon</a:t>
            </a:r>
          </a:p>
        </p:txBody>
      </p:sp>
      <p:sp>
        <p:nvSpPr>
          <p:cNvPr id="9" name="Text Placeholder 10">
            <a:extLst>
              <a:ext uri="{FF2B5EF4-FFF2-40B4-BE49-F238E27FC236}">
                <a16:creationId xmlns:a16="http://schemas.microsoft.com/office/drawing/2014/main" id="{E4BAB8CC-F0EE-985F-CB94-ED441DCCBBBB}"/>
              </a:ext>
            </a:extLst>
          </p:cNvPr>
          <p:cNvSpPr>
            <a:spLocks noGrp="1"/>
          </p:cNvSpPr>
          <p:nvPr>
            <p:ph type="body" sz="quarter" idx="20" hasCustomPrompt="1"/>
          </p:nvPr>
        </p:nvSpPr>
        <p:spPr bwMode="invGray">
          <a:xfrm>
            <a:off x="442800" y="5723384"/>
            <a:ext cx="35280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399595184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two Charts">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3" y="2458800"/>
            <a:ext cx="5473700"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8800"/>
            <a:ext cx="5473700" cy="3204000"/>
          </a:xfrm>
          <a:noFill/>
        </p:spPr>
        <p:txBody>
          <a:bodyPr/>
          <a:lstStyle>
            <a:lvl1pPr>
              <a:defRPr sz="1400" b="0"/>
            </a:lvl1pPr>
          </a:lstStyle>
          <a:p>
            <a:pPr lvl="0"/>
            <a:r>
              <a:rPr lang="en-US"/>
              <a:t>Add chart by clicking on icon</a:t>
            </a:r>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5" y="215329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
        <p:nvSpPr>
          <p:cNvPr id="16" name="Text Placeholder 10">
            <a:extLst>
              <a:ext uri="{FF2B5EF4-FFF2-40B4-BE49-F238E27FC236}">
                <a16:creationId xmlns:a16="http://schemas.microsoft.com/office/drawing/2014/main" id="{37C8048A-733E-655B-FEF3-4EC8F09BE3F4}"/>
              </a:ext>
            </a:extLst>
          </p:cNvPr>
          <p:cNvSpPr>
            <a:spLocks noGrp="1"/>
          </p:cNvSpPr>
          <p:nvPr>
            <p:ph type="body" sz="quarter" idx="25" hasCustomPrompt="1"/>
          </p:nvPr>
        </p:nvSpPr>
        <p:spPr bwMode="invGray">
          <a:xfrm>
            <a:off x="6275388"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44406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amp; Chart">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2" y="2458800"/>
            <a:ext cx="11306175"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1130325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4" y="2153294"/>
            <a:ext cx="1130325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113040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41092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 Final Slide">
    <p:spTree>
      <p:nvGrpSpPr>
        <p:cNvPr id="1" name=""/>
        <p:cNvGrpSpPr/>
        <p:nvPr/>
      </p:nvGrpSpPr>
      <p:grpSpPr>
        <a:xfrm>
          <a:off x="0" y="0"/>
          <a:ext cx="0" cy="0"/>
          <a:chOff x="0" y="0"/>
          <a:chExt cx="0" cy="0"/>
        </a:xfrm>
      </p:grpSpPr>
      <p:pic>
        <p:nvPicPr>
          <p:cNvPr id="11" name="Grafik 2">
            <a:extLst>
              <a:ext uri="{FF2B5EF4-FFF2-40B4-BE49-F238E27FC236}">
                <a16:creationId xmlns:a16="http://schemas.microsoft.com/office/drawing/2014/main" id="{A8DEDE1F-1CE2-DD5B-31B7-8EDA1E8995D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400388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invGray">
          <a:xfrm>
            <a:off x="1233362" y="2066400"/>
            <a:ext cx="8136000" cy="646331"/>
          </a:xfrm>
        </p:spPr>
        <p:txBody>
          <a:bodyPr vert="horz"/>
          <a:lstStyle>
            <a:lvl1pPr>
              <a:lnSpc>
                <a:spcPct val="100000"/>
              </a:lnSpc>
              <a:defRPr sz="4200">
                <a:solidFill>
                  <a:schemeClr val="bg1"/>
                </a:solidFill>
              </a:defRPr>
            </a:lvl1pPr>
          </a:lstStyle>
          <a:p>
            <a:r>
              <a:rPr lang="en-US" noProof="0"/>
              <a:t>Thank you</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invGray">
          <a:xfrm>
            <a:off x="919587" y="1882288"/>
            <a:ext cx="450000" cy="304225"/>
          </a:xfrm>
          <a:prstGeom prst="rect">
            <a:avLst/>
          </a:prstGeom>
        </p:spPr>
      </p:pic>
      <p:pic>
        <p:nvPicPr>
          <p:cNvPr id="10" name="Graphic 9">
            <a:extLst>
              <a:ext uri="{FF2B5EF4-FFF2-40B4-BE49-F238E27FC236}">
                <a16:creationId xmlns:a16="http://schemas.microsoft.com/office/drawing/2014/main" id="{D0B35D2D-D55D-496C-DA0C-5D73CF881BBB}"/>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2616968" y="478768"/>
            <a:ext cx="2376000" cy="682929"/>
          </a:xfrm>
          <a:prstGeom prst="rect">
            <a:avLst/>
          </a:prstGeom>
        </p:spPr>
      </p:pic>
      <p:sp>
        <p:nvSpPr>
          <p:cNvPr id="4" name="Text Placeholder 10">
            <a:extLst>
              <a:ext uri="{FF2B5EF4-FFF2-40B4-BE49-F238E27FC236}">
                <a16:creationId xmlns:a16="http://schemas.microsoft.com/office/drawing/2014/main" id="{51D07148-40CA-4B3A-B94A-352B1672951D}"/>
              </a:ext>
            </a:extLst>
          </p:cNvPr>
          <p:cNvSpPr>
            <a:spLocks noGrp="1"/>
          </p:cNvSpPr>
          <p:nvPr>
            <p:ph type="body" sz="quarter" idx="11" hasCustomPrompt="1"/>
          </p:nvPr>
        </p:nvSpPr>
        <p:spPr bwMode="invGray">
          <a:xfrm>
            <a:off x="1233362" y="569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5" name="Text Placeholder 10">
            <a:extLst>
              <a:ext uri="{FF2B5EF4-FFF2-40B4-BE49-F238E27FC236}">
                <a16:creationId xmlns:a16="http://schemas.microsoft.com/office/drawing/2014/main" id="{3BF8AE22-71AE-2A3D-4CB1-902737C70D82}"/>
              </a:ext>
            </a:extLst>
          </p:cNvPr>
          <p:cNvSpPr>
            <a:spLocks noGrp="1"/>
          </p:cNvSpPr>
          <p:nvPr>
            <p:ph type="body" sz="quarter" idx="12" hasCustomPrompt="1"/>
          </p:nvPr>
        </p:nvSpPr>
        <p:spPr bwMode="invGray">
          <a:xfrm>
            <a:off x="1233362" y="551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9" name="Text Placeholder 10">
            <a:extLst>
              <a:ext uri="{FF2B5EF4-FFF2-40B4-BE49-F238E27FC236}">
                <a16:creationId xmlns:a16="http://schemas.microsoft.com/office/drawing/2014/main" id="{4A940743-8E14-A392-0914-CC2271A2FD2D}"/>
              </a:ext>
            </a:extLst>
          </p:cNvPr>
          <p:cNvSpPr>
            <a:spLocks noGrp="1"/>
          </p:cNvSpPr>
          <p:nvPr>
            <p:ph type="body" sz="quarter" idx="14" hasCustomPrompt="1"/>
          </p:nvPr>
        </p:nvSpPr>
        <p:spPr bwMode="invGray">
          <a:xfrm>
            <a:off x="1233362" y="60480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2" name="Text Placeholder 10">
            <a:extLst>
              <a:ext uri="{FF2B5EF4-FFF2-40B4-BE49-F238E27FC236}">
                <a16:creationId xmlns:a16="http://schemas.microsoft.com/office/drawing/2014/main" id="{DC86BD44-8520-A95A-73DE-862C20EBE28D}"/>
              </a:ext>
            </a:extLst>
          </p:cNvPr>
          <p:cNvSpPr>
            <a:spLocks noGrp="1"/>
          </p:cNvSpPr>
          <p:nvPr>
            <p:ph type="body" sz="quarter" idx="15" hasCustomPrompt="1"/>
          </p:nvPr>
        </p:nvSpPr>
        <p:spPr bwMode="invGray">
          <a:xfrm>
            <a:off x="1233362" y="62352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3" name="Text Placeholder 10">
            <a:extLst>
              <a:ext uri="{FF2B5EF4-FFF2-40B4-BE49-F238E27FC236}">
                <a16:creationId xmlns:a16="http://schemas.microsoft.com/office/drawing/2014/main" id="{4C7A7962-9CE6-754A-6F77-928E4645413C}"/>
              </a:ext>
            </a:extLst>
          </p:cNvPr>
          <p:cNvSpPr>
            <a:spLocks noGrp="1"/>
          </p:cNvSpPr>
          <p:nvPr>
            <p:ph type="body" sz="quarter" idx="10" hasCustomPrompt="1"/>
          </p:nvPr>
        </p:nvSpPr>
        <p:spPr bwMode="invGray">
          <a:xfrm>
            <a:off x="1233362" y="5328000"/>
            <a:ext cx="8136000" cy="184666"/>
          </a:xfrm>
        </p:spPr>
        <p:txBody>
          <a:bodyPr wrap="square">
            <a:spAutoFit/>
          </a:bodyPr>
          <a:lstStyle>
            <a:lvl1pPr marL="0" indent="0">
              <a:lnSpc>
                <a:spcPct val="100000"/>
              </a:lnSpc>
              <a:spcBef>
                <a:spcPts val="0"/>
              </a:spcBef>
              <a:buFont typeface="Arial" panose="020B0604020202020204" pitchFamily="34" charset="0"/>
              <a:buNone/>
              <a:defRPr sz="1200" b="1">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Tree>
    <p:extLst>
      <p:ext uri="{BB962C8B-B14F-4D97-AF65-F5344CB8AC3E}">
        <p14:creationId xmlns:p14="http://schemas.microsoft.com/office/powerpoint/2010/main" val="19722023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0AD5D53-6107-4828-A328-97406E0EE8D5}"/>
              </a:ext>
            </a:extLst>
          </p:cNvPr>
          <p:cNvSpPr>
            <a:spLocks noGrp="1"/>
          </p:cNvSpPr>
          <p:nvPr>
            <p:ph type="ctrTitle"/>
          </p:nvPr>
        </p:nvSpPr>
        <p:spPr>
          <a:xfrm>
            <a:off x="1524000" y="2124968"/>
            <a:ext cx="9144000" cy="1384995"/>
          </a:xfrm>
        </p:spPr>
        <p:txBody>
          <a:bodyPr anchor="b"/>
          <a:lstStyle>
            <a:lvl1pPr algn="ctr">
              <a:defRPr sz="45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B0FEC11A-9C82-426A-AE77-B0E002415642}"/>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6AB124ED-DDDF-4AA0-8699-21AA37143378}"/>
              </a:ext>
            </a:extLst>
          </p:cNvPr>
          <p:cNvSpPr>
            <a:spLocks noGrp="1"/>
          </p:cNvSpPr>
          <p:nvPr>
            <p:ph type="dt" sz="half" idx="10"/>
          </p:nvPr>
        </p:nvSpPr>
        <p:spPr/>
        <p:txBody>
          <a:bodyPr/>
          <a:lstStyle/>
          <a:p>
            <a:fld id="{2F04DA5F-1B56-48FD-AFAD-5067CEF691C8}" type="datetimeFigureOut">
              <a:rPr lang="el-GR" smtClean="0"/>
              <a:t>6/6/2025</a:t>
            </a:fld>
            <a:endParaRPr lang="el-GR"/>
          </a:p>
        </p:txBody>
      </p:sp>
      <p:sp>
        <p:nvSpPr>
          <p:cNvPr id="5" name="Θέση υποσέλιδου 4">
            <a:extLst>
              <a:ext uri="{FF2B5EF4-FFF2-40B4-BE49-F238E27FC236}">
                <a16:creationId xmlns:a16="http://schemas.microsoft.com/office/drawing/2014/main" id="{C64CA736-0B6F-4FF3-BF03-47A7B907341F}"/>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C894B02C-60D0-4E41-A0BC-36338B2852A8}"/>
              </a:ext>
            </a:extLst>
          </p:cNvPr>
          <p:cNvSpPr>
            <a:spLocks noGrp="1"/>
          </p:cNvSpPr>
          <p:nvPr>
            <p:ph type="sldNum" sz="quarter" idx="12"/>
          </p:nvPr>
        </p:nvSpPr>
        <p:spPr/>
        <p:txBody>
          <a:bodyPr/>
          <a:lstStyle/>
          <a:p>
            <a:fld id="{193F9082-278A-4659-A01F-F0D8A66D4132}" type="slidenum">
              <a:rPr lang="el-GR" smtClean="0"/>
              <a:t>‹#›</a:t>
            </a:fld>
            <a:endParaRPr lang="el-GR"/>
          </a:p>
        </p:txBody>
      </p:sp>
    </p:spTree>
    <p:extLst>
      <p:ext uri="{BB962C8B-B14F-4D97-AF65-F5344CB8AC3E}">
        <p14:creationId xmlns:p14="http://schemas.microsoft.com/office/powerpoint/2010/main" val="134794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68652DE-BB74-4DA1-B2DF-5F94EC461A3C}"/>
              </a:ext>
            </a:extLst>
          </p:cNvPr>
          <p:cNvGraphicFramePr>
            <a:graphicFrameLocks noChangeAspect="1"/>
          </p:cNvGraphicFramePr>
          <p:nvPr userDrawn="1">
            <p:custDataLst>
              <p:tags r:id="rId1"/>
            </p:custDataLst>
            <p:extLst>
              <p:ext uri="{D42A27DB-BD31-4B8C-83A1-F6EECF244321}">
                <p14:modId xmlns:p14="http://schemas.microsoft.com/office/powerpoint/2010/main" val="608192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think-cell data - do not delete" hidden="1">
                        <a:extLst>
                          <a:ext uri="{FF2B5EF4-FFF2-40B4-BE49-F238E27FC236}">
                            <a16:creationId xmlns:a16="http://schemas.microsoft.com/office/drawing/2014/main" id="{668652DE-BB74-4DA1-B2DF-5F94EC461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43372" y="379660"/>
            <a:ext cx="11305716" cy="307777"/>
          </a:xfrm>
        </p:spPr>
        <p:txBody>
          <a:bodyPr lIns="0" tIns="0" rIns="0" bIns="0"/>
          <a:lstStyle>
            <a:lvl1pPr rtl="0">
              <a:defRPr sz="2000" b="1" i="0">
                <a:solidFill>
                  <a:srgbClr val="00319F"/>
                </a:solidFill>
                <a:latin typeface="Calibri"/>
                <a:cs typeface="Calibri"/>
              </a:defRPr>
            </a:lvl1pPr>
          </a:lstStyle>
          <a:p>
            <a:endParaRPr lang="en-US"/>
          </a:p>
        </p:txBody>
      </p:sp>
      <p:sp>
        <p:nvSpPr>
          <p:cNvPr id="3" name="Holder 3"/>
          <p:cNvSpPr>
            <a:spLocks noGrp="1"/>
          </p:cNvSpPr>
          <p:nvPr>
            <p:ph type="body" idx="1"/>
          </p:nvPr>
        </p:nvSpPr>
        <p:spPr/>
        <p:txBody>
          <a:bodyPr lIns="0" tIns="0" rIns="0" bIns="0"/>
          <a:lstStyle>
            <a:lvl1pPr rtl="0">
              <a:defRPr b="0" i="0">
                <a:solidFill>
                  <a:schemeClr val="tx1"/>
                </a:solidFill>
              </a:defRPr>
            </a:lvl1pPr>
          </a:lstStyle>
          <a:p>
            <a:endParaRPr lang="en-US"/>
          </a:p>
        </p:txBody>
      </p:sp>
      <p:sp>
        <p:nvSpPr>
          <p:cNvPr id="4" name="Holder 4"/>
          <p:cNvSpPr>
            <a:spLocks noGrp="1"/>
          </p:cNvSpPr>
          <p:nvPr>
            <p:ph type="ftr" sz="quarter" idx="5"/>
          </p:nvPr>
        </p:nvSpPr>
        <p:spPr/>
        <p:txBody>
          <a:bodyPr lIns="0" tIns="0" rIns="0" bIns="0"/>
          <a:lstStyle>
            <a:lvl1pPr algn="ctr" rtl="0">
              <a:defRPr>
                <a:solidFill>
                  <a:schemeClr val="tx1">
                    <a:tint val="75000"/>
                  </a:schemeClr>
                </a:solidFill>
              </a:defRPr>
            </a:lvl1pPr>
          </a:lstStyle>
          <a:p>
            <a:endParaRPr lang="en-US"/>
          </a:p>
        </p:txBody>
      </p:sp>
      <p:sp>
        <p:nvSpPr>
          <p:cNvPr id="5" name="Holder 5"/>
          <p:cNvSpPr>
            <a:spLocks noGrp="1"/>
          </p:cNvSpPr>
          <p:nvPr>
            <p:ph type="dt" sz="half" idx="6"/>
          </p:nvPr>
        </p:nvSpPr>
        <p:spPr>
          <a:xfrm>
            <a:off x="9783523" y="6258962"/>
            <a:ext cx="634789" cy="153888"/>
          </a:xfrm>
        </p:spPr>
        <p:txBody>
          <a:bodyPr lIns="0" tIns="0" rIns="0" bIns="0"/>
          <a:lstStyle>
            <a:lvl1pPr algn="l" rtl="0">
              <a:defRPr>
                <a:solidFill>
                  <a:schemeClr val="tx1">
                    <a:tint val="75000"/>
                  </a:schemeClr>
                </a:solidFill>
              </a:defRPr>
            </a:lvl1pPr>
          </a:lstStyle>
          <a:p>
            <a:endParaRPr lang="en-US"/>
          </a:p>
        </p:txBody>
      </p:sp>
      <p:sp>
        <p:nvSpPr>
          <p:cNvPr id="6" name="Holder 6"/>
          <p:cNvSpPr>
            <a:spLocks noGrp="1"/>
          </p:cNvSpPr>
          <p:nvPr>
            <p:ph type="sldNum" sz="quarter" idx="7"/>
          </p:nvPr>
        </p:nvSpPr>
        <p:spPr>
          <a:xfrm>
            <a:off x="443372" y="6282814"/>
            <a:ext cx="252000" cy="130036"/>
          </a:xfrm>
        </p:spPr>
        <p:txBody>
          <a:bodyPr lIns="0" tIns="0" rIns="0" bIns="0"/>
          <a:lstStyle>
            <a:lvl1pPr rtl="0">
              <a:defRPr sz="1000" b="0" i="0">
                <a:solidFill>
                  <a:srgbClr val="00319F"/>
                </a:solidFill>
                <a:latin typeface="Calibri"/>
                <a:cs typeface="Calibri"/>
              </a:defRPr>
            </a:lvl1pPr>
          </a:lstStyle>
          <a:p>
            <a:pPr marL="38100">
              <a:lnSpc>
                <a:spcPts val="1045"/>
              </a:lnSpc>
            </a:pPr>
            <a:fld id="{81D60167-4931-47E6-BA6A-407CBD079E47}" type="slidenum">
              <a:rPr lang="en-US" spc="-5" smtClean="0"/>
              <a:pPr marL="38100">
                <a:lnSpc>
                  <a:spcPts val="1045"/>
                </a:lnSpc>
              </a:pPr>
              <a:t>‹#›</a:t>
            </a:fld>
            <a:endParaRPr lang="en-US" spc="-5"/>
          </a:p>
        </p:txBody>
      </p:sp>
    </p:spTree>
    <p:extLst>
      <p:ext uri="{BB962C8B-B14F-4D97-AF65-F5344CB8AC3E}">
        <p14:creationId xmlns:p14="http://schemas.microsoft.com/office/powerpoint/2010/main" val="2588877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Agenda Longer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1517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0828"/>
            <a:ext cx="11305716" cy="3996097"/>
          </a:xfrm>
        </p:spPr>
        <p:txBody>
          <a:bodyPr wrap="square">
            <a:noAutofit/>
          </a:bodyPr>
          <a:lstStyle>
            <a:lvl1pPr marL="0" indent="0">
              <a:lnSpc>
                <a:spcPct val="100000"/>
              </a:lnSpc>
              <a:spcBef>
                <a:spcPts val="1200"/>
              </a:spcBef>
              <a:spcAft>
                <a:spcPts val="0"/>
              </a:spcAft>
              <a:buFont typeface="+mj-lt"/>
              <a:buNone/>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marL="252000" marR="0" lvl="0" indent="-252000" algn="l" defTabSz="914400" rtl="0" eaLnBrk="1" fontAlgn="auto" latinLnBrk="0" hangingPunct="1">
              <a:lnSpc>
                <a:spcPct val="100000"/>
              </a:lnSpc>
              <a:spcBef>
                <a:spcPts val="1200"/>
              </a:spcBef>
              <a:spcAft>
                <a:spcPts val="0"/>
              </a:spcAft>
              <a:buClrTx/>
              <a:buSzTx/>
              <a:buFont typeface="+mj-lt"/>
              <a:buAutoNum type="arabicPeriod"/>
              <a:tabLst/>
              <a:defRPr/>
            </a:pPr>
            <a:r>
              <a:rPr lang="en-US"/>
              <a:t>Click to edit agenda point longer text</a:t>
            </a:r>
          </a:p>
        </p:txBody>
      </p:sp>
      <p:sp>
        <p:nvSpPr>
          <p:cNvPr id="17" name="Title 16">
            <a:extLst>
              <a:ext uri="{FF2B5EF4-FFF2-40B4-BE49-F238E27FC236}">
                <a16:creationId xmlns:a16="http://schemas.microsoft.com/office/drawing/2014/main" id="{B6F2F3BE-5C32-75EB-C67F-C51CFAAEA76B}"/>
              </a:ext>
            </a:extLst>
          </p:cNvPr>
          <p:cNvSpPr>
            <a:spLocks noGrp="1"/>
          </p:cNvSpPr>
          <p:nvPr>
            <p:ph type="title" hasCustomPrompt="1"/>
          </p:nvPr>
        </p:nvSpPr>
        <p:spPr>
          <a:xfrm>
            <a:off x="443372" y="379660"/>
            <a:ext cx="11305716" cy="492443"/>
          </a:xfrm>
        </p:spPr>
        <p:txBody>
          <a:bodyPr/>
          <a:lstStyle/>
          <a:p>
            <a:r>
              <a:rPr kumimoji="0" lang="en-US" sz="3200" b="1" i="0" u="none" strike="noStrike" kern="1200" cap="none" spc="0" normalizeH="0" baseline="0" noProof="0">
                <a:ln>
                  <a:noFill/>
                </a:ln>
                <a:solidFill>
                  <a:srgbClr val="0032A0"/>
                </a:solidFill>
                <a:effectLst/>
                <a:uLnTx/>
                <a:uFillTx/>
                <a:latin typeface="The Wave Sans TT"/>
                <a:ea typeface="+mj-ea"/>
                <a:cs typeface="+mj-cs"/>
              </a:rPr>
              <a:t>Click to edit agenda placeholder</a:t>
            </a:r>
            <a:endParaRPr lang="en-GB"/>
          </a:p>
        </p:txBody>
      </p:sp>
      <p:pic>
        <p:nvPicPr>
          <p:cNvPr id="2" name="Graphic 1">
            <a:extLst>
              <a:ext uri="{FF2B5EF4-FFF2-40B4-BE49-F238E27FC236}">
                <a16:creationId xmlns:a16="http://schemas.microsoft.com/office/drawing/2014/main" id="{612A5B05-BCA2-E936-07D3-E927838B94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489413979"/>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 Chapter Divider Blue">
    <p:bg bwMode="gray">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77817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bg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bg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sp>
        <p:nvSpPr>
          <p:cNvPr id="9" name="Slide Number Placeholder 8">
            <a:extLst>
              <a:ext uri="{FF2B5EF4-FFF2-40B4-BE49-F238E27FC236}">
                <a16:creationId xmlns:a16="http://schemas.microsoft.com/office/drawing/2014/main" id="{A136C915-2610-E578-AAE8-BFB468F6201F}"/>
              </a:ext>
            </a:extLst>
          </p:cNvPr>
          <p:cNvSpPr>
            <a:spLocks noGrp="1"/>
          </p:cNvSpPr>
          <p:nvPr>
            <p:ph type="sldNum" sz="quarter" idx="14"/>
          </p:nvPr>
        </p:nvSpPr>
        <p:spPr bwMode="gray"/>
        <p:txBody>
          <a:bodyPr/>
          <a:lstStyle>
            <a:lvl1pPr>
              <a:defRPr>
                <a:solidFill>
                  <a:schemeClr val="bg1"/>
                </a:solidFill>
              </a:defRPr>
            </a:lvl1pPr>
          </a:lstStyle>
          <a:p>
            <a:fld id="{4531D9DC-ADF0-4D0A-8902-0133E3C6D94B}" type="slidenum">
              <a:rPr lang="en-US" smtClean="0"/>
              <a:pPr/>
              <a:t>‹#›</a:t>
            </a:fld>
            <a:endParaRPr lang="en-US"/>
          </a:p>
        </p:txBody>
      </p:sp>
      <p:sp>
        <p:nvSpPr>
          <p:cNvPr id="5" name="Date Placeholder 4">
            <a:extLst>
              <a:ext uri="{FF2B5EF4-FFF2-40B4-BE49-F238E27FC236}">
                <a16:creationId xmlns:a16="http://schemas.microsoft.com/office/drawing/2014/main" id="{9C2E9016-C930-BAF0-FB44-B26E6048AE48}"/>
              </a:ext>
            </a:extLst>
          </p:cNvPr>
          <p:cNvSpPr>
            <a:spLocks noGrp="1"/>
          </p:cNvSpPr>
          <p:nvPr>
            <p:ph type="dt" sz="half" idx="15"/>
          </p:nvPr>
        </p:nvSpPr>
        <p:spPr/>
        <p:txBody>
          <a:bodyPr/>
          <a:lstStyle>
            <a:lvl1pPr>
              <a:defRPr>
                <a:solidFill>
                  <a:schemeClr val="bg1"/>
                </a:solidFill>
              </a:defRPr>
            </a:lvl1pPr>
          </a:lstStyle>
          <a:p>
            <a:fld id="{4918A0F0-B9B7-4DA4-8DCA-BD8D99AF4357}" type="datetime1">
              <a:rPr lang="en-GB" smtClean="0"/>
              <a:pPr/>
              <a:t>06/06/2025</a:t>
            </a:fld>
            <a:endParaRPr lang="en-US"/>
          </a:p>
        </p:txBody>
      </p:sp>
      <p:pic>
        <p:nvPicPr>
          <p:cNvPr id="3" name="Picture 2">
            <a:extLst>
              <a:ext uri="{FF2B5EF4-FFF2-40B4-BE49-F238E27FC236}">
                <a16:creationId xmlns:a16="http://schemas.microsoft.com/office/drawing/2014/main" id="{8BA071AF-EA85-3D60-FF8D-FE2146AFF10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846360562"/>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Chapter Divider White">
    <p:bg bwMode="gray">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45950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accent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accent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pic>
        <p:nvPicPr>
          <p:cNvPr id="49" name="Picture 48">
            <a:extLst>
              <a:ext uri="{FF2B5EF4-FFF2-40B4-BE49-F238E27FC236}">
                <a16:creationId xmlns:a16="http://schemas.microsoft.com/office/drawing/2014/main" id="{C4F6923B-AD3A-ECD3-13A1-773220C416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11235600" y="6080400"/>
            <a:ext cx="475271" cy="475200"/>
          </a:xfrm>
          <a:prstGeom prst="rect">
            <a:avLst/>
          </a:prstGeom>
        </p:spPr>
      </p:pic>
      <p:sp>
        <p:nvSpPr>
          <p:cNvPr id="10" name="Slide Number Placeholder 9">
            <a:extLst>
              <a:ext uri="{FF2B5EF4-FFF2-40B4-BE49-F238E27FC236}">
                <a16:creationId xmlns:a16="http://schemas.microsoft.com/office/drawing/2014/main" id="{BD7B5984-E40F-5073-B14C-12C9BF8E642F}"/>
              </a:ext>
            </a:extLst>
          </p:cNvPr>
          <p:cNvSpPr>
            <a:spLocks noGrp="1"/>
          </p:cNvSpPr>
          <p:nvPr>
            <p:ph type="sldNum" sz="quarter" idx="14"/>
          </p:nvPr>
        </p:nvSpPr>
        <p:spPr/>
        <p:txBody>
          <a:bodyPr/>
          <a:lstStyle/>
          <a:p>
            <a:fld id="{4531D9DC-ADF0-4D0A-8902-0133E3C6D94B}" type="slidenum">
              <a:rPr lang="en-US" smtClean="0"/>
              <a:pPr/>
              <a:t>‹#›</a:t>
            </a:fld>
            <a:endParaRPr lang="en-US"/>
          </a:p>
        </p:txBody>
      </p:sp>
      <p:pic>
        <p:nvPicPr>
          <p:cNvPr id="3" name="Graphic 2">
            <a:extLst>
              <a:ext uri="{FF2B5EF4-FFF2-40B4-BE49-F238E27FC236}">
                <a16:creationId xmlns:a16="http://schemas.microsoft.com/office/drawing/2014/main" id="{7BEBA279-F3BB-EBB7-5138-FF97392BAD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43372" y="332656"/>
            <a:ext cx="2722463" cy="552701"/>
          </a:xfrm>
          <a:prstGeom prst="rect">
            <a:avLst/>
          </a:prstGeom>
        </p:spPr>
      </p:pic>
    </p:spTree>
    <p:extLst>
      <p:ext uri="{BB962C8B-B14F-4D97-AF65-F5344CB8AC3E}">
        <p14:creationId xmlns:p14="http://schemas.microsoft.com/office/powerpoint/2010/main" val="2371551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Statement/ Quote/Headline ">
    <p:bg bwMode="auto">
      <p:bgPr>
        <a:solidFill>
          <a:schemeClr val="accent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696449-E069-67AA-B16A-A849B454749F}"/>
              </a:ext>
            </a:extLst>
          </p:cNvPr>
          <p:cNvGraphicFramePr>
            <a:graphicFrameLocks noChangeAspect="1"/>
          </p:cNvGraphicFramePr>
          <p:nvPr userDrawn="1">
            <p:custDataLst>
              <p:tags r:id="rId1"/>
            </p:custDataLst>
            <p:extLst>
              <p:ext uri="{D42A27DB-BD31-4B8C-83A1-F6EECF244321}">
                <p14:modId xmlns:p14="http://schemas.microsoft.com/office/powerpoint/2010/main" val="52554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39696449-E069-67AA-B16A-A849B4547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FEFF96D-DF35-C2CB-25BF-3452B40587D5}"/>
              </a:ext>
            </a:extLst>
          </p:cNvPr>
          <p:cNvSpPr>
            <a:spLocks noGrp="1"/>
          </p:cNvSpPr>
          <p:nvPr>
            <p:ph type="title" hasCustomPrompt="1"/>
          </p:nvPr>
        </p:nvSpPr>
        <p:spPr bwMode="invGray">
          <a:xfrm>
            <a:off x="1233362" y="1809888"/>
            <a:ext cx="10515726" cy="1292662"/>
          </a:xfrm>
        </p:spPr>
        <p:txBody>
          <a:bodyPr vert="horz"/>
          <a:lstStyle>
            <a:lvl1pPr>
              <a:lnSpc>
                <a:spcPct val="100000"/>
              </a:lnSpc>
              <a:defRPr sz="4200">
                <a:solidFill>
                  <a:schemeClr val="accent1"/>
                </a:solidFill>
              </a:defRPr>
            </a:lvl1pPr>
          </a:lstStyle>
          <a:p>
            <a:r>
              <a:rPr lang="en-US" noProof="0"/>
              <a:t>Click to edit quote/ statement/headline (max. three lines)</a:t>
            </a:r>
          </a:p>
        </p:txBody>
      </p:sp>
      <p:pic>
        <p:nvPicPr>
          <p:cNvPr id="14" name="Graphic 13">
            <a:extLst>
              <a:ext uri="{FF2B5EF4-FFF2-40B4-BE49-F238E27FC236}">
                <a16:creationId xmlns:a16="http://schemas.microsoft.com/office/drawing/2014/main" id="{94501AED-BB0B-9493-9E05-C28457E1993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919587" y="1629932"/>
            <a:ext cx="450000" cy="304225"/>
          </a:xfrm>
          <a:prstGeom prst="rect">
            <a:avLst/>
          </a:prstGeom>
        </p:spPr>
      </p:pic>
      <p:sp>
        <p:nvSpPr>
          <p:cNvPr id="20" name="Text Placeholder 10">
            <a:extLst>
              <a:ext uri="{FF2B5EF4-FFF2-40B4-BE49-F238E27FC236}">
                <a16:creationId xmlns:a16="http://schemas.microsoft.com/office/drawing/2014/main" id="{F33ED0D4-6744-577A-0C02-A28A1B782632}"/>
              </a:ext>
            </a:extLst>
          </p:cNvPr>
          <p:cNvSpPr>
            <a:spLocks noGrp="1"/>
          </p:cNvSpPr>
          <p:nvPr>
            <p:ph type="body" sz="quarter" idx="14" hasCustomPrompt="1"/>
          </p:nvPr>
        </p:nvSpPr>
        <p:spPr bwMode="invGray">
          <a:xfrm>
            <a:off x="1233488" y="3928836"/>
            <a:ext cx="10515600"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Date Placeholder 1">
            <a:extLst>
              <a:ext uri="{FF2B5EF4-FFF2-40B4-BE49-F238E27FC236}">
                <a16:creationId xmlns:a16="http://schemas.microsoft.com/office/drawing/2014/main" id="{FD46D2D0-96AB-E330-1D57-79A95E74EBAD}"/>
              </a:ext>
            </a:extLst>
          </p:cNvPr>
          <p:cNvSpPr>
            <a:spLocks noGrp="1"/>
          </p:cNvSpPr>
          <p:nvPr>
            <p:ph type="dt" sz="half" idx="15"/>
          </p:nvPr>
        </p:nvSpPr>
        <p:spPr/>
        <p:txBody>
          <a:bodyPr/>
          <a:lstStyle/>
          <a:p>
            <a:fld id="{43647D4E-3700-47E3-9E5C-C617EE2CEBE1}" type="datetime1">
              <a:rPr lang="en-GB" smtClean="0"/>
              <a:t>06/06/2025</a:t>
            </a:fld>
            <a:endParaRPr lang="en-US"/>
          </a:p>
        </p:txBody>
      </p:sp>
      <p:sp>
        <p:nvSpPr>
          <p:cNvPr id="3" name="Footer Placeholder 2">
            <a:extLst>
              <a:ext uri="{FF2B5EF4-FFF2-40B4-BE49-F238E27FC236}">
                <a16:creationId xmlns:a16="http://schemas.microsoft.com/office/drawing/2014/main" id="{C51B10E2-5A32-8F8E-DDA6-9B8F0D4D6348}"/>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5019BFFC-A881-3F50-1A3B-3CDFBC8C09B6}"/>
              </a:ext>
            </a:extLst>
          </p:cNvPr>
          <p:cNvSpPr>
            <a:spLocks noGrp="1"/>
          </p:cNvSpPr>
          <p:nvPr>
            <p:ph type="sldNum" sz="quarter" idx="17"/>
          </p:nvPr>
        </p:nvSpPr>
        <p:spPr/>
        <p:txBody>
          <a:bodyPr/>
          <a:lstStyle/>
          <a:p>
            <a:fld id="{4531D9DC-ADF0-4D0A-8902-0133E3C6D94B}" type="slidenum">
              <a:rPr lang="en-US" smtClean="0"/>
              <a:pPr/>
              <a:t>‹#›</a:t>
            </a:fld>
            <a:endParaRPr lang="en-US"/>
          </a:p>
        </p:txBody>
      </p:sp>
    </p:spTree>
    <p:extLst>
      <p:ext uri="{BB962C8B-B14F-4D97-AF65-F5344CB8AC3E}">
        <p14:creationId xmlns:p14="http://schemas.microsoft.com/office/powerpoint/2010/main" val="4016914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3599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CDAB7CE9-787C-27A4-F300-35C27F3005CF}"/>
              </a:ext>
            </a:extLst>
          </p:cNvPr>
          <p:cNvSpPr>
            <a:spLocks noGrp="1"/>
          </p:cNvSpPr>
          <p:nvPr>
            <p:ph type="sldNum" sz="quarter" idx="12"/>
          </p:nvPr>
        </p:nvSpPr>
        <p:spPr/>
        <p:txBody>
          <a:bodyPr/>
          <a:lstStyle/>
          <a:p>
            <a:fld id="{4531D9DC-ADF0-4D0A-8902-0133E3C6D94B}" type="slidenum">
              <a:rPr lang="en-US" smtClean="0"/>
              <a:pPr/>
              <a:t>‹#›</a:t>
            </a:fld>
            <a:endParaRPr lang="en-US"/>
          </a:p>
        </p:txBody>
      </p:sp>
      <p:sp>
        <p:nvSpPr>
          <p:cNvPr id="12" name="Title 11">
            <a:extLst>
              <a:ext uri="{FF2B5EF4-FFF2-40B4-BE49-F238E27FC236}">
                <a16:creationId xmlns:a16="http://schemas.microsoft.com/office/drawing/2014/main" id="{170AC60B-0A2E-8F12-BD66-ECA449C89456}"/>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1398098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35215223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67041E-5F4A-C4D2-6862-D0F56C62A445}"/>
              </a:ext>
            </a:extLst>
          </p:cNvPr>
          <p:cNvGraphicFramePr>
            <a:graphicFrameLocks noChangeAspect="1"/>
          </p:cNvGraphicFramePr>
          <p:nvPr userDrawn="1">
            <p:custDataLst>
              <p:tags r:id="rId38"/>
            </p:custDataLst>
            <p:extLst>
              <p:ext uri="{D42A27DB-BD31-4B8C-83A1-F6EECF244321}">
                <p14:modId xmlns:p14="http://schemas.microsoft.com/office/powerpoint/2010/main" val="306907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25" imgH="426" progId="TCLayout.ActiveDocument.1">
                  <p:embed/>
                </p:oleObj>
              </mc:Choice>
              <mc:Fallback>
                <p:oleObj name="think-cell Slide" r:id="rId39" imgW="425" imgH="426" progId="TCLayout.ActiveDocument.1">
                  <p:embed/>
                  <p:pic>
                    <p:nvPicPr>
                      <p:cNvPr id="8" name="Objekt 7" hidden="1">
                        <a:extLst>
                          <a:ext uri="{FF2B5EF4-FFF2-40B4-BE49-F238E27FC236}">
                            <a16:creationId xmlns:a16="http://schemas.microsoft.com/office/drawing/2014/main" id="{0B67041E-5F4A-C4D2-6862-D0F56C62A445}"/>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FABD2B5-E255-72D3-605E-7CBB15F574C6}"/>
              </a:ext>
            </a:extLst>
          </p:cNvPr>
          <p:cNvSpPr>
            <a:spLocks noGrp="1"/>
          </p:cNvSpPr>
          <p:nvPr>
            <p:ph type="body" idx="1"/>
          </p:nvPr>
        </p:nvSpPr>
        <p:spPr bwMode="gray">
          <a:xfrm>
            <a:off x="442913" y="1881188"/>
            <a:ext cx="11306175" cy="39957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1"/>
            <a:endParaRPr lang="en-US" noProof="0"/>
          </a:p>
        </p:txBody>
      </p:sp>
      <p:sp>
        <p:nvSpPr>
          <p:cNvPr id="2" name="Title Placeholder 1">
            <a:extLst>
              <a:ext uri="{FF2B5EF4-FFF2-40B4-BE49-F238E27FC236}">
                <a16:creationId xmlns:a16="http://schemas.microsoft.com/office/drawing/2014/main" id="{34E3B3DD-DC53-6809-587C-4C099F0BEE34}"/>
              </a:ext>
            </a:extLst>
          </p:cNvPr>
          <p:cNvSpPr>
            <a:spLocks noGrp="1"/>
          </p:cNvSpPr>
          <p:nvPr>
            <p:ph type="title"/>
          </p:nvPr>
        </p:nvSpPr>
        <p:spPr bwMode="gray">
          <a:xfrm>
            <a:off x="443372" y="379660"/>
            <a:ext cx="11305716" cy="984885"/>
          </a:xfrm>
          <a:prstGeom prst="rect">
            <a:avLst/>
          </a:prstGeom>
        </p:spPr>
        <p:txBody>
          <a:bodyPr vert="horz" wrap="square" lIns="0" tIns="0" rIns="0" bIns="0" rtlCol="0" anchor="t">
            <a:spAutoFit/>
          </a:bodyPr>
          <a:lstStyle/>
          <a:p>
            <a:r>
              <a:rPr lang="en-US" noProof="0"/>
              <a:t>Click to edit slide title </a:t>
            </a:r>
            <a:br>
              <a:rPr lang="en-US" noProof="0"/>
            </a:br>
            <a:r>
              <a:rPr lang="en-US" noProof="0"/>
              <a:t>(maximum two lines)</a:t>
            </a:r>
          </a:p>
        </p:txBody>
      </p:sp>
      <p:sp>
        <p:nvSpPr>
          <p:cNvPr id="4" name="Date Placeholder 3">
            <a:extLst>
              <a:ext uri="{FF2B5EF4-FFF2-40B4-BE49-F238E27FC236}">
                <a16:creationId xmlns:a16="http://schemas.microsoft.com/office/drawing/2014/main" id="{8BA43287-A0A7-C704-898A-529403EA36CB}"/>
              </a:ext>
            </a:extLst>
          </p:cNvPr>
          <p:cNvSpPr>
            <a:spLocks noGrp="1"/>
          </p:cNvSpPr>
          <p:nvPr>
            <p:ph type="dt" sz="half" idx="2"/>
          </p:nvPr>
        </p:nvSpPr>
        <p:spPr bwMode="gray">
          <a:xfrm>
            <a:off x="10020436" y="6258962"/>
            <a:ext cx="720080" cy="153888"/>
          </a:xfrm>
          <a:prstGeom prst="rect">
            <a:avLst/>
          </a:prstGeom>
          <a:noFill/>
        </p:spPr>
        <p:txBody>
          <a:bodyPr vert="horz" wrap="square" lIns="0" tIns="0" rIns="0" bIns="0" rtlCol="0" anchor="b">
            <a:spAutoFit/>
          </a:bodyPr>
          <a:lstStyle>
            <a:lvl1pPr algn="r">
              <a:defRPr sz="1000">
                <a:solidFill>
                  <a:schemeClr val="accent1"/>
                </a:solidFill>
              </a:defRPr>
            </a:lvl1pPr>
          </a:lstStyle>
          <a:p>
            <a:fld id="{4918A0F0-B9B7-4DA4-8DCA-BD8D99AF4357}" type="datetime1">
              <a:rPr lang="en-GB" smtClean="0"/>
              <a:pPr/>
              <a:t>06/06/2025</a:t>
            </a:fld>
            <a:endParaRPr lang="en-US"/>
          </a:p>
        </p:txBody>
      </p:sp>
      <p:sp>
        <p:nvSpPr>
          <p:cNvPr id="5" name="Footer Placeholder 4">
            <a:extLst>
              <a:ext uri="{FF2B5EF4-FFF2-40B4-BE49-F238E27FC236}">
                <a16:creationId xmlns:a16="http://schemas.microsoft.com/office/drawing/2014/main" id="{13CBD171-B6B2-4E65-20A7-344266B10A3D}"/>
              </a:ext>
            </a:extLst>
          </p:cNvPr>
          <p:cNvSpPr>
            <a:spLocks noGrp="1"/>
          </p:cNvSpPr>
          <p:nvPr>
            <p:ph type="ftr" sz="quarter" idx="3"/>
          </p:nvPr>
        </p:nvSpPr>
        <p:spPr bwMode="gray">
          <a:xfrm>
            <a:off x="1020044" y="6258962"/>
            <a:ext cx="8784000" cy="153888"/>
          </a:xfrm>
          <a:prstGeom prst="rect">
            <a:avLst/>
          </a:prstGeom>
        </p:spPr>
        <p:txBody>
          <a:bodyPr vert="horz" wrap="square" lIns="0" tIns="0" rIns="0" bIns="0" rtlCol="0" anchor="b">
            <a:spAutoFit/>
          </a:bodyPr>
          <a:lstStyle>
            <a:lvl1pPr algn="l">
              <a:defRPr sz="1000">
                <a:solidFill>
                  <a:schemeClr val="accent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A2ABE9E-2FB8-5110-325C-6B7BFF786C37}"/>
              </a:ext>
            </a:extLst>
          </p:cNvPr>
          <p:cNvSpPr>
            <a:spLocks noGrp="1"/>
          </p:cNvSpPr>
          <p:nvPr>
            <p:ph type="sldNum" sz="quarter" idx="4"/>
          </p:nvPr>
        </p:nvSpPr>
        <p:spPr bwMode="gray">
          <a:xfrm>
            <a:off x="443372" y="6258962"/>
            <a:ext cx="252000" cy="153888"/>
          </a:xfrm>
          <a:prstGeom prst="rect">
            <a:avLst/>
          </a:prstGeom>
        </p:spPr>
        <p:txBody>
          <a:bodyPr vert="horz" wrap="square" lIns="0" tIns="0" rIns="0" bIns="0" rtlCol="0" anchor="b">
            <a:spAutoFit/>
          </a:bodyPr>
          <a:lstStyle>
            <a:lvl1pPr algn="l">
              <a:defRPr sz="1000">
                <a:solidFill>
                  <a:schemeClr val="accent1"/>
                </a:solidFill>
              </a:defRPr>
            </a:lvl1pPr>
          </a:lstStyle>
          <a:p>
            <a:fld id="{4531D9DC-ADF0-4D0A-8902-0133E3C6D94B}" type="slidenum">
              <a:rPr lang="en-US" smtClean="0"/>
              <a:pPr/>
              <a:t>‹#›</a:t>
            </a:fld>
            <a:endParaRPr lang="en-US"/>
          </a:p>
        </p:txBody>
      </p:sp>
      <p:pic>
        <p:nvPicPr>
          <p:cNvPr id="10" name="Picture 9">
            <a:extLst>
              <a:ext uri="{FF2B5EF4-FFF2-40B4-BE49-F238E27FC236}">
                <a16:creationId xmlns:a16="http://schemas.microsoft.com/office/drawing/2014/main" id="{75B7CDCD-0E31-08E3-C6A4-F8CE846FF79B}"/>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12648728" y="6081666"/>
            <a:ext cx="475200" cy="475200"/>
          </a:xfrm>
          <a:prstGeom prst="rect">
            <a:avLst/>
          </a:prstGeom>
        </p:spPr>
      </p:pic>
    </p:spTree>
    <p:extLst>
      <p:ext uri="{BB962C8B-B14F-4D97-AF65-F5344CB8AC3E}">
        <p14:creationId xmlns:p14="http://schemas.microsoft.com/office/powerpoint/2010/main" val="47277802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4" r:id="rId3"/>
    <p:sldLayoutId id="2147483667" r:id="rId4"/>
    <p:sldLayoutId id="2147483655" r:id="rId5"/>
    <p:sldLayoutId id="2147483668" r:id="rId6"/>
    <p:sldLayoutId id="2147483665" r:id="rId7"/>
    <p:sldLayoutId id="2147483657" r:id="rId8"/>
    <p:sldLayoutId id="2147483658" r:id="rId9"/>
    <p:sldLayoutId id="2147483659" r:id="rId10"/>
    <p:sldLayoutId id="2147483660" r:id="rId11"/>
    <p:sldLayoutId id="2147483673" r:id="rId12"/>
    <p:sldLayoutId id="2147483669" r:id="rId13"/>
    <p:sldLayoutId id="2147483670" r:id="rId14"/>
    <p:sldLayoutId id="2147483671" r:id="rId15"/>
    <p:sldLayoutId id="2147483672" r:id="rId16"/>
    <p:sldLayoutId id="2147483674" r:id="rId17"/>
    <p:sldLayoutId id="2147483675" r:id="rId18"/>
    <p:sldLayoutId id="2147483677" r:id="rId19"/>
    <p:sldLayoutId id="2147483664" r:id="rId20"/>
    <p:sldLayoutId id="2147483678" r:id="rId21"/>
    <p:sldLayoutId id="2147483679" r:id="rId22"/>
    <p:sldLayoutId id="2147483680" r:id="rId23"/>
    <p:sldLayoutId id="2147483688" r:id="rId24"/>
    <p:sldLayoutId id="2147483681" r:id="rId25"/>
    <p:sldLayoutId id="2147483686" r:id="rId26"/>
    <p:sldLayoutId id="2147483683" r:id="rId27"/>
    <p:sldLayoutId id="2147483687" r:id="rId28"/>
    <p:sldLayoutId id="2147483689" r:id="rId29"/>
    <p:sldLayoutId id="2147483696" r:id="rId30"/>
    <p:sldLayoutId id="2147483697" r:id="rId31"/>
    <p:sldLayoutId id="2147483698" r:id="rId32"/>
    <p:sldLayoutId id="2147483699" r:id="rId33"/>
    <p:sldLayoutId id="2147483695" r:id="rId34"/>
    <p:sldLayoutId id="2147483701" r:id="rId35"/>
    <p:sldLayoutId id="2147483702" r:id="rId36"/>
  </p:sldLayoutIdLst>
  <p:hf hdr="0"/>
  <p:txStyles>
    <p:title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userDrawn="1">
          <p15:clr>
            <a:srgbClr val="F26B43"/>
          </p15:clr>
        </p15:guide>
        <p15:guide id="3" pos="7401" userDrawn="1">
          <p15:clr>
            <a:srgbClr val="F26B43"/>
          </p15:clr>
        </p15:guide>
        <p15:guide id="4" orient="horz" pos="3702" userDrawn="1">
          <p15:clr>
            <a:srgbClr val="F26B43"/>
          </p15:clr>
        </p15:guide>
        <p15:guide id="5" pos="3727" userDrawn="1">
          <p15:clr>
            <a:srgbClr val="F26B43"/>
          </p15:clr>
        </p15:guide>
        <p15:guide id="6" pos="3953" userDrawn="1">
          <p15:clr>
            <a:srgbClr val="F26B43"/>
          </p15:clr>
        </p15:guide>
        <p15:guide id="7"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23.sv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chart" Target="../charts/chart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44.svg"/><Relationship Id="rId11" Type="http://schemas.openxmlformats.org/officeDocument/2006/relationships/chart" Target="../charts/chart4.xml"/><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chart" Target="../charts/chart7.xml"/><Relationship Id="rId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9.xml"/><Relationship Id="rId1" Type="http://schemas.openxmlformats.org/officeDocument/2006/relationships/slideLayout" Target="../slideLayouts/slideLayout9.xml"/><Relationship Id="rId5" Type="http://schemas.openxmlformats.org/officeDocument/2006/relationships/image" Target="../media/image49.png"/><Relationship Id="rId4" Type="http://schemas.microsoft.com/office/2014/relationships/chartEx" Target="../charts/chartEx1.xml"/></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hyperlink" Target="https://energy.alba.acg.edu/"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9.svg"/><Relationship Id="rId11" Type="http://schemas.openxmlformats.org/officeDocument/2006/relationships/image" Target="../media/image28.png"/><Relationship Id="rId5" Type="http://schemas.openxmlformats.org/officeDocument/2006/relationships/image" Target="../media/image18.png"/><Relationship Id="rId10" Type="http://schemas.openxmlformats.org/officeDocument/2006/relationships/image" Target="../media/image27.png"/><Relationship Id="rId4" Type="http://schemas.openxmlformats.org/officeDocument/2006/relationships/image" Target="../media/image23.svg"/><Relationship Id="rId9" Type="http://schemas.openxmlformats.org/officeDocument/2006/relationships/image" Target="../media/image26.svg"/><Relationship Id="rId14" Type="http://schemas.openxmlformats.org/officeDocument/2006/relationships/image" Target="../media/image30.png"/></Relationships>
</file>

<file path=ppt/slides/_rels/slide20.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20.xml"/><Relationship Id="rId1" Type="http://schemas.openxmlformats.org/officeDocument/2006/relationships/slideLayout" Target="../slideLayouts/slideLayout9.xml"/><Relationship Id="rId5" Type="http://schemas.openxmlformats.org/officeDocument/2006/relationships/chart" Target="../charts/chart15.xml"/><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chart" Target="../charts/chart17.xml"/><Relationship Id="rId5" Type="http://schemas.openxmlformats.org/officeDocument/2006/relationships/image" Target="../media/image54.png"/><Relationship Id="rId4" Type="http://schemas.openxmlformats.org/officeDocument/2006/relationships/image" Target="../media/image53.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chart" Target="../charts/char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56.jpeg"/></Relationships>
</file>

<file path=ppt/slides/_rels/slide2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0.xml"/><Relationship Id="rId1" Type="http://schemas.openxmlformats.org/officeDocument/2006/relationships/slideLayout" Target="../slideLayouts/slideLayout9.xml"/><Relationship Id="rId5" Type="http://schemas.openxmlformats.org/officeDocument/2006/relationships/image" Target="../media/image61.png"/><Relationship Id="rId4" Type="http://schemas.openxmlformats.org/officeDocument/2006/relationships/image" Target="../media/image60.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65.svg"/></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5.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35.xml"/><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70.jpeg"/><Relationship Id="rId5" Type="http://schemas.openxmlformats.org/officeDocument/2006/relationships/image" Target="../media/image21.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8.xml"/><Relationship Id="rId7" Type="http://schemas.openxmlformats.org/officeDocument/2006/relationships/image" Target="../media/image71.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36.xml"/><Relationship Id="rId9" Type="http://schemas.openxmlformats.org/officeDocument/2006/relationships/image" Target="../media/image73.png"/></Relationships>
</file>

<file path=ppt/slides/_rels/slide3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oleObject" Target="../embeddings/oleObject27.bin"/><Relationship Id="rId18" Type="http://schemas.openxmlformats.org/officeDocument/2006/relationships/image" Target="../media/image77.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notesSlide" Target="../notesSlides/notesSlide37.xml"/><Relationship Id="rId17" Type="http://schemas.openxmlformats.org/officeDocument/2006/relationships/image" Target="../media/image76.png"/><Relationship Id="rId2" Type="http://schemas.openxmlformats.org/officeDocument/2006/relationships/tags" Target="../tags/tag42.xml"/><Relationship Id="rId16" Type="http://schemas.openxmlformats.org/officeDocument/2006/relationships/image" Target="../media/image75.png"/><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Layout" Target="../slideLayouts/slideLayout8.xml"/><Relationship Id="rId5" Type="http://schemas.openxmlformats.org/officeDocument/2006/relationships/tags" Target="../tags/tag45.xml"/><Relationship Id="rId15" Type="http://schemas.openxmlformats.org/officeDocument/2006/relationships/image" Target="../media/image74.png"/><Relationship Id="rId10" Type="http://schemas.openxmlformats.org/officeDocument/2006/relationships/tags" Target="../tags/tag50.xml"/><Relationship Id="rId19" Type="http://schemas.openxmlformats.org/officeDocument/2006/relationships/image" Target="../media/image78.jpeg"/><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21.emf"/></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28.bin"/><Relationship Id="rId13" Type="http://schemas.openxmlformats.org/officeDocument/2006/relationships/image" Target="../media/image82.png"/><Relationship Id="rId18" Type="http://schemas.microsoft.com/office/2007/relationships/hdphoto" Target="../media/hdphoto2.wdp"/><Relationship Id="rId3" Type="http://schemas.openxmlformats.org/officeDocument/2006/relationships/tags" Target="../tags/tag53.xml"/><Relationship Id="rId21" Type="http://schemas.microsoft.com/office/2007/relationships/hdphoto" Target="../media/hdphoto3.wdp"/><Relationship Id="rId7" Type="http://schemas.openxmlformats.org/officeDocument/2006/relationships/notesSlide" Target="../notesSlides/notesSlide38.xml"/><Relationship Id="rId12" Type="http://schemas.openxmlformats.org/officeDocument/2006/relationships/image" Target="../media/image81.png"/><Relationship Id="rId17" Type="http://schemas.openxmlformats.org/officeDocument/2006/relationships/image" Target="../media/image85.png"/><Relationship Id="rId2" Type="http://schemas.openxmlformats.org/officeDocument/2006/relationships/tags" Target="../tags/tag52.xml"/><Relationship Id="rId16" Type="http://schemas.openxmlformats.org/officeDocument/2006/relationships/image" Target="../media/image84.png"/><Relationship Id="rId20" Type="http://schemas.openxmlformats.org/officeDocument/2006/relationships/image" Target="../media/image87.png"/><Relationship Id="rId1" Type="http://schemas.openxmlformats.org/officeDocument/2006/relationships/tags" Target="../tags/tag51.xml"/><Relationship Id="rId6" Type="http://schemas.openxmlformats.org/officeDocument/2006/relationships/slideLayout" Target="../slideLayouts/slideLayout8.xml"/><Relationship Id="rId11" Type="http://schemas.openxmlformats.org/officeDocument/2006/relationships/image" Target="../media/image80.png"/><Relationship Id="rId5" Type="http://schemas.openxmlformats.org/officeDocument/2006/relationships/tags" Target="../tags/tag55.xml"/><Relationship Id="rId15" Type="http://schemas.openxmlformats.org/officeDocument/2006/relationships/image" Target="../media/image83.png"/><Relationship Id="rId10" Type="http://schemas.openxmlformats.org/officeDocument/2006/relationships/chart" Target="../charts/chart22.xml"/><Relationship Id="rId19" Type="http://schemas.openxmlformats.org/officeDocument/2006/relationships/image" Target="../media/image86.png"/><Relationship Id="rId4" Type="http://schemas.openxmlformats.org/officeDocument/2006/relationships/tags" Target="../tags/tag54.xml"/><Relationship Id="rId9" Type="http://schemas.openxmlformats.org/officeDocument/2006/relationships/image" Target="../media/image79.emf"/><Relationship Id="rId14" Type="http://schemas.microsoft.com/office/2007/relationships/hdphoto" Target="../media/hdphoto1.wdp"/></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6.xml"/><Relationship Id="rId1" Type="http://schemas.openxmlformats.org/officeDocument/2006/relationships/tags" Target="../tags/tag57.xml"/><Relationship Id="rId5" Type="http://schemas.openxmlformats.org/officeDocument/2006/relationships/image" Target="../media/image88.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26" Type="http://schemas.openxmlformats.org/officeDocument/2006/relationships/tags" Target="../tags/tag83.xml"/><Relationship Id="rId21" Type="http://schemas.openxmlformats.org/officeDocument/2006/relationships/tags" Target="../tags/tag78.xml"/><Relationship Id="rId34" Type="http://schemas.openxmlformats.org/officeDocument/2006/relationships/tags" Target="../tags/tag91.xml"/><Relationship Id="rId42" Type="http://schemas.openxmlformats.org/officeDocument/2006/relationships/tags" Target="../tags/tag99.xml"/><Relationship Id="rId47" Type="http://schemas.openxmlformats.org/officeDocument/2006/relationships/tags" Target="../tags/tag104.xml"/><Relationship Id="rId50" Type="http://schemas.openxmlformats.org/officeDocument/2006/relationships/tags" Target="../tags/tag107.xml"/><Relationship Id="rId55" Type="http://schemas.openxmlformats.org/officeDocument/2006/relationships/tags" Target="../tags/tag112.xml"/><Relationship Id="rId63" Type="http://schemas.openxmlformats.org/officeDocument/2006/relationships/chart" Target="../charts/chart25.xml"/><Relationship Id="rId7" Type="http://schemas.openxmlformats.org/officeDocument/2006/relationships/tags" Target="../tags/tag64.xml"/><Relationship Id="rId2" Type="http://schemas.openxmlformats.org/officeDocument/2006/relationships/tags" Target="../tags/tag59.xml"/><Relationship Id="rId16" Type="http://schemas.openxmlformats.org/officeDocument/2006/relationships/tags" Target="../tags/tag73.xml"/><Relationship Id="rId29" Type="http://schemas.openxmlformats.org/officeDocument/2006/relationships/tags" Target="../tags/tag86.xml"/><Relationship Id="rId11" Type="http://schemas.openxmlformats.org/officeDocument/2006/relationships/tags" Target="../tags/tag68.xml"/><Relationship Id="rId24" Type="http://schemas.openxmlformats.org/officeDocument/2006/relationships/tags" Target="../tags/tag81.xml"/><Relationship Id="rId32" Type="http://schemas.openxmlformats.org/officeDocument/2006/relationships/tags" Target="../tags/tag89.xml"/><Relationship Id="rId37" Type="http://schemas.openxmlformats.org/officeDocument/2006/relationships/tags" Target="../tags/tag94.xml"/><Relationship Id="rId40" Type="http://schemas.openxmlformats.org/officeDocument/2006/relationships/tags" Target="../tags/tag97.xml"/><Relationship Id="rId45" Type="http://schemas.openxmlformats.org/officeDocument/2006/relationships/tags" Target="../tags/tag102.xml"/><Relationship Id="rId53" Type="http://schemas.openxmlformats.org/officeDocument/2006/relationships/tags" Target="../tags/tag110.xml"/><Relationship Id="rId58" Type="http://schemas.openxmlformats.org/officeDocument/2006/relationships/notesSlide" Target="../notesSlides/notesSlide41.xml"/><Relationship Id="rId5" Type="http://schemas.openxmlformats.org/officeDocument/2006/relationships/tags" Target="../tags/tag62.xml"/><Relationship Id="rId61" Type="http://schemas.openxmlformats.org/officeDocument/2006/relationships/chart" Target="../charts/chart23.xml"/><Relationship Id="rId19" Type="http://schemas.openxmlformats.org/officeDocument/2006/relationships/tags" Target="../tags/tag7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tags" Target="../tags/tag84.xml"/><Relationship Id="rId30" Type="http://schemas.openxmlformats.org/officeDocument/2006/relationships/tags" Target="../tags/tag87.xml"/><Relationship Id="rId35" Type="http://schemas.openxmlformats.org/officeDocument/2006/relationships/tags" Target="../tags/tag92.xml"/><Relationship Id="rId43" Type="http://schemas.openxmlformats.org/officeDocument/2006/relationships/tags" Target="../tags/tag100.xml"/><Relationship Id="rId48" Type="http://schemas.openxmlformats.org/officeDocument/2006/relationships/tags" Target="../tags/tag105.xml"/><Relationship Id="rId56" Type="http://schemas.openxmlformats.org/officeDocument/2006/relationships/tags" Target="../tags/tag113.xml"/><Relationship Id="rId64" Type="http://schemas.openxmlformats.org/officeDocument/2006/relationships/chart" Target="../charts/chart26.xml"/><Relationship Id="rId8" Type="http://schemas.openxmlformats.org/officeDocument/2006/relationships/tags" Target="../tags/tag65.xml"/><Relationship Id="rId51" Type="http://schemas.openxmlformats.org/officeDocument/2006/relationships/tags" Target="../tags/tag108.xml"/><Relationship Id="rId3" Type="http://schemas.openxmlformats.org/officeDocument/2006/relationships/tags" Target="../tags/tag60.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tags" Target="../tags/tag82.xml"/><Relationship Id="rId33" Type="http://schemas.openxmlformats.org/officeDocument/2006/relationships/tags" Target="../tags/tag90.xml"/><Relationship Id="rId38" Type="http://schemas.openxmlformats.org/officeDocument/2006/relationships/tags" Target="../tags/tag95.xml"/><Relationship Id="rId46" Type="http://schemas.openxmlformats.org/officeDocument/2006/relationships/tags" Target="../tags/tag103.xml"/><Relationship Id="rId59" Type="http://schemas.openxmlformats.org/officeDocument/2006/relationships/oleObject" Target="../embeddings/oleObject30.bin"/><Relationship Id="rId20" Type="http://schemas.openxmlformats.org/officeDocument/2006/relationships/tags" Target="../tags/tag77.xml"/><Relationship Id="rId41" Type="http://schemas.openxmlformats.org/officeDocument/2006/relationships/tags" Target="../tags/tag98.xml"/><Relationship Id="rId54" Type="http://schemas.openxmlformats.org/officeDocument/2006/relationships/tags" Target="../tags/tag111.xml"/><Relationship Id="rId62" Type="http://schemas.openxmlformats.org/officeDocument/2006/relationships/chart" Target="../charts/chart24.xml"/><Relationship Id="rId1" Type="http://schemas.openxmlformats.org/officeDocument/2006/relationships/tags" Target="../tags/tag58.xml"/><Relationship Id="rId6" Type="http://schemas.openxmlformats.org/officeDocument/2006/relationships/tags" Target="../tags/tag63.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tags" Target="../tags/tag85.xml"/><Relationship Id="rId36" Type="http://schemas.openxmlformats.org/officeDocument/2006/relationships/tags" Target="../tags/tag93.xml"/><Relationship Id="rId49" Type="http://schemas.openxmlformats.org/officeDocument/2006/relationships/tags" Target="../tags/tag106.xml"/><Relationship Id="rId57" Type="http://schemas.openxmlformats.org/officeDocument/2006/relationships/slideLayout" Target="../slideLayouts/slideLayout36.xml"/><Relationship Id="rId10" Type="http://schemas.openxmlformats.org/officeDocument/2006/relationships/tags" Target="../tags/tag67.xml"/><Relationship Id="rId31" Type="http://schemas.openxmlformats.org/officeDocument/2006/relationships/tags" Target="../tags/tag88.xml"/><Relationship Id="rId44" Type="http://schemas.openxmlformats.org/officeDocument/2006/relationships/tags" Target="../tags/tag101.xml"/><Relationship Id="rId52" Type="http://schemas.openxmlformats.org/officeDocument/2006/relationships/tags" Target="../tags/tag109.xml"/><Relationship Id="rId60" Type="http://schemas.openxmlformats.org/officeDocument/2006/relationships/image" Target="../media/image88.emf"/><Relationship Id="rId65" Type="http://schemas.openxmlformats.org/officeDocument/2006/relationships/chart" Target="../charts/chart27.xml"/><Relationship Id="rId4" Type="http://schemas.openxmlformats.org/officeDocument/2006/relationships/tags" Target="../tags/tag61.xml"/><Relationship Id="rId9" Type="http://schemas.openxmlformats.org/officeDocument/2006/relationships/tags" Target="../tags/tag66.xml"/><Relationship Id="rId13" Type="http://schemas.openxmlformats.org/officeDocument/2006/relationships/tags" Target="../tags/tag70.xml"/><Relationship Id="rId18" Type="http://schemas.openxmlformats.org/officeDocument/2006/relationships/tags" Target="../tags/tag75.xml"/><Relationship Id="rId39" Type="http://schemas.openxmlformats.org/officeDocument/2006/relationships/tags" Target="../tags/tag9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7.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5EAA736-AF7B-0B72-2A3D-0600F7AD7F90}"/>
              </a:ext>
            </a:extLst>
          </p:cNvPr>
          <p:cNvSpPr>
            <a:spLocks noGrp="1"/>
          </p:cNvSpPr>
          <p:nvPr>
            <p:ph type="title"/>
          </p:nvPr>
        </p:nvSpPr>
        <p:spPr>
          <a:xfrm>
            <a:off x="2927648" y="1951672"/>
            <a:ext cx="8352928" cy="1477328"/>
          </a:xfrm>
        </p:spPr>
        <p:txBody>
          <a:bodyPr/>
          <a:lstStyle/>
          <a:p>
            <a:r>
              <a:rPr lang="en-US" sz="4800" kern="0">
                <a:solidFill>
                  <a:schemeClr val="bg1"/>
                </a:solidFill>
              </a:rPr>
              <a:t>Empowering Energy </a:t>
            </a:r>
            <a:br>
              <a:rPr lang="el-GR" sz="4800" kern="0">
                <a:solidFill>
                  <a:schemeClr val="bg1"/>
                </a:solidFill>
              </a:rPr>
            </a:br>
            <a:r>
              <a:rPr lang="en-US" sz="4800" kern="0">
                <a:solidFill>
                  <a:schemeClr val="bg1"/>
                </a:solidFill>
              </a:rPr>
              <a:t>Leaders of Tomorrow</a:t>
            </a:r>
          </a:p>
        </p:txBody>
      </p:sp>
      <p:pic>
        <p:nvPicPr>
          <p:cNvPr id="15" name="Graphic 14">
            <a:extLst>
              <a:ext uri="{FF2B5EF4-FFF2-40B4-BE49-F238E27FC236}">
                <a16:creationId xmlns:a16="http://schemas.microsoft.com/office/drawing/2014/main" id="{24954E71-ACF4-273A-97DC-F055BC0FB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643" y="548680"/>
            <a:ext cx="3199859" cy="648072"/>
          </a:xfrm>
          <a:prstGeom prst="rect">
            <a:avLst/>
          </a:prstGeom>
        </p:spPr>
      </p:pic>
      <p:pic>
        <p:nvPicPr>
          <p:cNvPr id="9" name="Graphic 8">
            <a:extLst>
              <a:ext uri="{FF2B5EF4-FFF2-40B4-BE49-F238E27FC236}">
                <a16:creationId xmlns:a16="http://schemas.microsoft.com/office/drawing/2014/main" id="{C5DF5A7D-4E91-933D-E7E2-F09B621F185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0056440" y="6008505"/>
            <a:ext cx="1564840" cy="44978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F7B16EE-B0A1-22FF-D152-89564A70FC7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sp>
        <p:nvSpPr>
          <p:cNvPr id="4" name="TextBox 3">
            <a:extLst>
              <a:ext uri="{FF2B5EF4-FFF2-40B4-BE49-F238E27FC236}">
                <a16:creationId xmlns:a16="http://schemas.microsoft.com/office/drawing/2014/main" id="{DF7FFC5D-7C47-3E99-2F48-CB67C85923EC}"/>
              </a:ext>
            </a:extLst>
          </p:cNvPr>
          <p:cNvSpPr txBox="1"/>
          <p:nvPr/>
        </p:nvSpPr>
        <p:spPr>
          <a:xfrm>
            <a:off x="2927648" y="3817245"/>
            <a:ext cx="7128792" cy="995209"/>
          </a:xfrm>
          <a:prstGeom prst="rect">
            <a:avLst/>
          </a:prstGeom>
          <a:noFill/>
        </p:spPr>
        <p:txBody>
          <a:bodyPr wrap="square">
            <a:spAutoFit/>
          </a:bodyPr>
          <a:lstStyle/>
          <a:p>
            <a:pPr marL="0" marR="0">
              <a:lnSpc>
                <a:spcPct val="107000"/>
              </a:lnSpc>
              <a:spcAft>
                <a:spcPts val="800"/>
              </a:spcAft>
            </a:pPr>
            <a:r>
              <a:rPr lang="en-US" sz="2800" b="1" i="1" kern="100">
                <a:solidFill>
                  <a:schemeClr val="bg1"/>
                </a:solidFill>
                <a:effectLst/>
                <a:latin typeface="Times New Roman" panose="02020603050405020304" pitchFamily="18" charset="0"/>
                <a:ea typeface="Aptos" panose="020B0004020202020204" pitchFamily="34" charset="0"/>
                <a:cs typeface="Times New Roman" panose="02020603050405020304" pitchFamily="18" charset="0"/>
              </a:rPr>
              <a:t>Decoding the Energy sector for Journalists and Media Specialists: A Technical Deep Dive</a:t>
            </a:r>
            <a:endParaRPr lang="en-US" sz="28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7E12AAE7-A33F-DD05-F9C7-A02A1C610E78}"/>
              </a:ext>
            </a:extLst>
          </p:cNvPr>
          <p:cNvSpPr txBox="1"/>
          <p:nvPr/>
        </p:nvSpPr>
        <p:spPr>
          <a:xfrm>
            <a:off x="2927648" y="4812454"/>
            <a:ext cx="7128792" cy="534185"/>
          </a:xfrm>
          <a:prstGeom prst="rect">
            <a:avLst/>
          </a:prstGeom>
          <a:noFill/>
        </p:spPr>
        <p:txBody>
          <a:bodyPr wrap="square">
            <a:spAutoFit/>
          </a:bodyPr>
          <a:lstStyle/>
          <a:p>
            <a:pPr marL="0" marR="0">
              <a:lnSpc>
                <a:spcPct val="107000"/>
              </a:lnSpc>
              <a:spcAft>
                <a:spcPts val="800"/>
              </a:spcAft>
            </a:pPr>
            <a:r>
              <a:rPr lang="en-US" sz="2800" b="1" i="1" kern="100">
                <a:solidFill>
                  <a:schemeClr val="bg1"/>
                </a:solidFill>
                <a:latin typeface="Times New Roman" panose="02020603050405020304" pitchFamily="18" charset="0"/>
                <a:ea typeface="Aptos" panose="020B0004020202020204" pitchFamily="34" charset="0"/>
                <a:cs typeface="Times New Roman" panose="02020603050405020304" pitchFamily="18" charset="0"/>
              </a:rPr>
              <a:t>RES &amp; Storage technologies</a:t>
            </a:r>
            <a:endParaRPr lang="en-US" sz="28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263305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3DFC5F-D95F-FD1E-261C-865124737CB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2AC51B7-FAE4-EB0E-492A-616378E32542}"/>
              </a:ext>
            </a:extLst>
          </p:cNvPr>
          <p:cNvSpPr>
            <a:spLocks noGrp="1"/>
          </p:cNvSpPr>
          <p:nvPr>
            <p:ph type="title"/>
          </p:nvPr>
        </p:nvSpPr>
        <p:spPr>
          <a:xfrm>
            <a:off x="443372" y="379660"/>
            <a:ext cx="11305716" cy="984885"/>
          </a:xfrm>
        </p:spPr>
        <p:txBody>
          <a:bodyPr/>
          <a:lstStyle/>
          <a:p>
            <a:r>
              <a:rPr lang="el-GR">
                <a:solidFill>
                  <a:srgbClr val="0F55F5"/>
                </a:solidFill>
              </a:rPr>
              <a:t>Μετασχηματισμός της Ενεργειακής Αγοράς – </a:t>
            </a:r>
            <a:br>
              <a:rPr lang="en-US">
                <a:solidFill>
                  <a:srgbClr val="0F55F5"/>
                </a:solidFill>
              </a:rPr>
            </a:br>
            <a:r>
              <a:rPr lang="el-GR">
                <a:solidFill>
                  <a:srgbClr val="0F55F5"/>
                </a:solidFill>
              </a:rPr>
              <a:t>Από τα 3 στα 4D</a:t>
            </a:r>
            <a:endParaRPr lang="en-US">
              <a:solidFill>
                <a:srgbClr val="0F55F5"/>
              </a:solidFill>
            </a:endParaRPr>
          </a:p>
        </p:txBody>
      </p:sp>
      <p:sp>
        <p:nvSpPr>
          <p:cNvPr id="5" name="Slide Number Placeholder 4">
            <a:extLst>
              <a:ext uri="{FF2B5EF4-FFF2-40B4-BE49-F238E27FC236}">
                <a16:creationId xmlns:a16="http://schemas.microsoft.com/office/drawing/2014/main" id="{1B2C7EC3-6CD8-30FF-4D80-2C27D4284D6E}"/>
              </a:ext>
            </a:extLst>
          </p:cNvPr>
          <p:cNvSpPr>
            <a:spLocks noGrp="1"/>
          </p:cNvSpPr>
          <p:nvPr>
            <p:ph type="sldNum" sz="quarter" idx="16"/>
          </p:nvPr>
        </p:nvSpPr>
        <p:spPr/>
        <p:txBody>
          <a:bodyPr/>
          <a:lstStyle/>
          <a:p>
            <a:fld id="{4531D9DC-ADF0-4D0A-8902-0133E3C6D94B}" type="slidenum">
              <a:rPr lang="en-US" smtClean="0"/>
              <a:pPr/>
              <a:t>10</a:t>
            </a:fld>
            <a:endParaRPr lang="en-US"/>
          </a:p>
        </p:txBody>
      </p:sp>
      <p:grpSp>
        <p:nvGrpSpPr>
          <p:cNvPr id="3" name="Group 2">
            <a:extLst>
              <a:ext uri="{FF2B5EF4-FFF2-40B4-BE49-F238E27FC236}">
                <a16:creationId xmlns:a16="http://schemas.microsoft.com/office/drawing/2014/main" id="{FD5836F7-8A44-CB65-EE7F-E8C42632663C}"/>
              </a:ext>
            </a:extLst>
          </p:cNvPr>
          <p:cNvGrpSpPr/>
          <p:nvPr/>
        </p:nvGrpSpPr>
        <p:grpSpPr>
          <a:xfrm>
            <a:off x="3926496" y="1602275"/>
            <a:ext cx="4630363" cy="4453669"/>
            <a:chOff x="2370550" y="3243251"/>
            <a:chExt cx="2116897" cy="2073915"/>
          </a:xfrm>
        </p:grpSpPr>
        <p:pic>
          <p:nvPicPr>
            <p:cNvPr id="4" name="Picture 2">
              <a:extLst>
                <a:ext uri="{FF2B5EF4-FFF2-40B4-BE49-F238E27FC236}">
                  <a16:creationId xmlns:a16="http://schemas.microsoft.com/office/drawing/2014/main" id="{7119608F-EDD3-069F-34F1-5AE430C1DB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0550" y="3243251"/>
              <a:ext cx="2116897" cy="2073915"/>
            </a:xfrm>
            <a:prstGeom prst="rect">
              <a:avLst/>
            </a:prstGeom>
            <a:noFill/>
            <a:extLst>
              <a:ext uri="{909E8E84-426E-40DD-AFC4-6F175D3DCCD1}">
                <a14:hiddenFill xmlns:a14="http://schemas.microsoft.com/office/drawing/2010/main">
                  <a:solidFill>
                    <a:srgbClr val="FFFFFF"/>
                  </a:solidFill>
                </a14:hiddenFill>
              </a:ext>
            </a:extLst>
          </p:spPr>
        </p:pic>
        <p:sp>
          <p:nvSpPr>
            <p:cNvPr id="19" name="Oval 18">
              <a:extLst>
                <a:ext uri="{FF2B5EF4-FFF2-40B4-BE49-F238E27FC236}">
                  <a16:creationId xmlns:a16="http://schemas.microsoft.com/office/drawing/2014/main" id="{EC678EEC-F919-4431-1D0F-76D63925D411}"/>
                </a:ext>
              </a:extLst>
            </p:cNvPr>
            <p:cNvSpPr/>
            <p:nvPr/>
          </p:nvSpPr>
          <p:spPr>
            <a:xfrm>
              <a:off x="3022600" y="3881773"/>
              <a:ext cx="658748" cy="663575"/>
            </a:xfrm>
            <a:prstGeom prst="ellipse">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a:extLst>
              <a:ext uri="{FF2B5EF4-FFF2-40B4-BE49-F238E27FC236}">
                <a16:creationId xmlns:a16="http://schemas.microsoft.com/office/drawing/2014/main" id="{0CA270E5-AB15-7515-661C-A01E16614866}"/>
              </a:ext>
            </a:extLst>
          </p:cNvPr>
          <p:cNvSpPr txBox="1"/>
          <p:nvPr/>
        </p:nvSpPr>
        <p:spPr>
          <a:xfrm>
            <a:off x="289613" y="1482331"/>
            <a:ext cx="3636883" cy="2092881"/>
          </a:xfrm>
          <a:prstGeom prst="rect">
            <a:avLst/>
          </a:prstGeom>
          <a:noFill/>
        </p:spPr>
        <p:txBody>
          <a:bodyPr wrap="square">
            <a:spAutoFit/>
          </a:bodyPr>
          <a:lstStyle/>
          <a:p>
            <a:pPr>
              <a:buNone/>
            </a:pPr>
            <a:r>
              <a:rPr lang="el-GR" b="1">
                <a:solidFill>
                  <a:srgbClr val="0F55F5"/>
                </a:solidFill>
              </a:rPr>
              <a:t>Αποκέντρωση (Decentralization)</a:t>
            </a:r>
          </a:p>
          <a:p>
            <a:pPr>
              <a:buFont typeface="Arial" panose="020B0604020202020204" pitchFamily="34" charset="0"/>
              <a:buChar char="•"/>
            </a:pPr>
            <a:r>
              <a:rPr lang="el-GR" sz="1600"/>
              <a:t> Ενίσχυση των υφιστάμενων υποδομών </a:t>
            </a:r>
            <a:endParaRPr lang="en-US" sz="1600"/>
          </a:p>
          <a:p>
            <a:pPr>
              <a:buFont typeface="Arial" panose="020B0604020202020204" pitchFamily="34" charset="0"/>
              <a:buChar char="•"/>
            </a:pPr>
            <a:r>
              <a:rPr lang="el-GR" sz="1600"/>
              <a:t> Κατανεμημένα συστήματα παραγωγής ενέργειας</a:t>
            </a:r>
          </a:p>
          <a:p>
            <a:pPr>
              <a:buFont typeface="Arial" panose="020B0604020202020204" pitchFamily="34" charset="0"/>
              <a:buChar char="•"/>
            </a:pPr>
            <a:r>
              <a:rPr lang="el-GR" sz="1600"/>
              <a:t> Ενεργειακός συμψηφισμός μεταξύ καταναλωτών (peer-to-peer) και τοπικές ενεργειακές κοινότητες.</a:t>
            </a:r>
          </a:p>
        </p:txBody>
      </p:sp>
      <p:sp>
        <p:nvSpPr>
          <p:cNvPr id="23" name="TextBox 22">
            <a:extLst>
              <a:ext uri="{FF2B5EF4-FFF2-40B4-BE49-F238E27FC236}">
                <a16:creationId xmlns:a16="http://schemas.microsoft.com/office/drawing/2014/main" id="{9A574AB1-EE6B-3106-718D-568E483C5C9C}"/>
              </a:ext>
            </a:extLst>
          </p:cNvPr>
          <p:cNvSpPr txBox="1"/>
          <p:nvPr/>
        </p:nvSpPr>
        <p:spPr>
          <a:xfrm>
            <a:off x="8008218" y="1482331"/>
            <a:ext cx="3740869" cy="1877437"/>
          </a:xfrm>
          <a:prstGeom prst="rect">
            <a:avLst/>
          </a:prstGeom>
          <a:noFill/>
        </p:spPr>
        <p:txBody>
          <a:bodyPr wrap="square">
            <a:spAutoFit/>
          </a:bodyPr>
          <a:lstStyle/>
          <a:p>
            <a:pPr algn="r">
              <a:buNone/>
            </a:pPr>
            <a:r>
              <a:rPr lang="el-GR" b="1">
                <a:solidFill>
                  <a:srgbClr val="0F55F5"/>
                </a:solidFill>
              </a:rPr>
              <a:t>Απανθρακοποίηση (Decarbonization)</a:t>
            </a:r>
          </a:p>
          <a:p>
            <a:pPr algn="r">
              <a:buFont typeface="Arial" panose="020B0604020202020204" pitchFamily="34" charset="0"/>
              <a:buChar char="•"/>
            </a:pPr>
            <a:r>
              <a:rPr lang="el-GR" sz="1600"/>
              <a:t>Ταχεία διείσδυση των ΑΠΕ / Αποθήκευση ενέργειας</a:t>
            </a:r>
          </a:p>
          <a:p>
            <a:pPr algn="r">
              <a:buFont typeface="Arial" panose="020B0604020202020204" pitchFamily="34" charset="0"/>
              <a:buChar char="•"/>
            </a:pPr>
            <a:r>
              <a:rPr lang="el-GR" sz="1600"/>
              <a:t>Εφαρμογή αυστηρότερων πολιτικών για το κλίμα και μηχανισμών τιμολόγησης του άνθρακα</a:t>
            </a:r>
          </a:p>
        </p:txBody>
      </p:sp>
      <p:sp>
        <p:nvSpPr>
          <p:cNvPr id="26" name="TextBox 25">
            <a:extLst>
              <a:ext uri="{FF2B5EF4-FFF2-40B4-BE49-F238E27FC236}">
                <a16:creationId xmlns:a16="http://schemas.microsoft.com/office/drawing/2014/main" id="{6A0035BC-699C-D9BA-FF5A-045CB75E457B}"/>
              </a:ext>
            </a:extLst>
          </p:cNvPr>
          <p:cNvSpPr txBox="1"/>
          <p:nvPr/>
        </p:nvSpPr>
        <p:spPr>
          <a:xfrm>
            <a:off x="289613" y="3830762"/>
            <a:ext cx="3446176" cy="2339102"/>
          </a:xfrm>
          <a:prstGeom prst="rect">
            <a:avLst/>
          </a:prstGeom>
          <a:noFill/>
        </p:spPr>
        <p:txBody>
          <a:bodyPr wrap="square">
            <a:spAutoFit/>
          </a:bodyPr>
          <a:lstStyle/>
          <a:p>
            <a:pPr>
              <a:buNone/>
            </a:pPr>
            <a:r>
              <a:rPr lang="el-GR" b="1">
                <a:solidFill>
                  <a:srgbClr val="0F55F5"/>
                </a:solidFill>
              </a:rPr>
              <a:t>Ψηφιοποίηση (Digitalization)</a:t>
            </a:r>
          </a:p>
          <a:p>
            <a:pPr>
              <a:buFont typeface="Arial" panose="020B0604020202020204" pitchFamily="34" charset="0"/>
              <a:buChar char="•"/>
            </a:pPr>
            <a:r>
              <a:rPr lang="el-GR" sz="1600"/>
              <a:t> Χρήση έξυπνων δικτύων για τη βελτιστοποίηση της διανομής και κατανάλωσης ενέργειας</a:t>
            </a:r>
          </a:p>
          <a:p>
            <a:pPr>
              <a:buFont typeface="Arial" panose="020B0604020202020204" pitchFamily="34" charset="0"/>
              <a:buChar char="•"/>
            </a:pPr>
            <a:r>
              <a:rPr lang="el-GR" sz="1600"/>
              <a:t> Παρακολούθηση της προσφοράς και της ζήτησης ενέργειας σε πραγματικό χρόνο</a:t>
            </a:r>
          </a:p>
          <a:p>
            <a:pPr>
              <a:buFont typeface="Arial" panose="020B0604020202020204" pitchFamily="34" charset="0"/>
              <a:buChar char="•"/>
            </a:pPr>
            <a:r>
              <a:rPr lang="el-GR" sz="1600"/>
              <a:t> Έξυπνοι μετρητές, συστήματα, απόκρισης ζήτησης.</a:t>
            </a:r>
          </a:p>
        </p:txBody>
      </p:sp>
      <p:sp>
        <p:nvSpPr>
          <p:cNvPr id="28" name="TextBox 27">
            <a:extLst>
              <a:ext uri="{FF2B5EF4-FFF2-40B4-BE49-F238E27FC236}">
                <a16:creationId xmlns:a16="http://schemas.microsoft.com/office/drawing/2014/main" id="{1D6DA13C-CD09-1D8D-5476-38E28EDF3461}"/>
              </a:ext>
            </a:extLst>
          </p:cNvPr>
          <p:cNvSpPr txBox="1"/>
          <p:nvPr/>
        </p:nvSpPr>
        <p:spPr>
          <a:xfrm>
            <a:off x="8653114" y="3829109"/>
            <a:ext cx="3190428" cy="2616101"/>
          </a:xfrm>
          <a:prstGeom prst="rect">
            <a:avLst/>
          </a:prstGeom>
          <a:noFill/>
        </p:spPr>
        <p:txBody>
          <a:bodyPr wrap="square">
            <a:spAutoFit/>
          </a:bodyPr>
          <a:lstStyle/>
          <a:p>
            <a:pPr algn="r">
              <a:buNone/>
            </a:pPr>
            <a:r>
              <a:rPr lang="el-GR" b="1">
                <a:solidFill>
                  <a:srgbClr val="0F55F5"/>
                </a:solidFill>
              </a:rPr>
              <a:t>Εκδημοκρατισμός (Democratization)</a:t>
            </a:r>
          </a:p>
          <a:p>
            <a:pPr algn="r">
              <a:buFont typeface="Arial" panose="020B0604020202020204" pitchFamily="34" charset="0"/>
              <a:buChar char="•"/>
            </a:pPr>
            <a:r>
              <a:rPr lang="el-GR" sz="1600"/>
              <a:t>Διείσδυση νέων παραγωγών / αυτοπαραγωγών ενέργειας (prosumers)</a:t>
            </a:r>
          </a:p>
          <a:p>
            <a:pPr algn="r">
              <a:buFont typeface="Arial" panose="020B0604020202020204" pitchFamily="34" charset="0"/>
              <a:buChar char="•"/>
            </a:pPr>
            <a:r>
              <a:rPr lang="el-GR" sz="1600"/>
              <a:t>Καθαρή και προσιτή ενέργεια για όλους</a:t>
            </a:r>
          </a:p>
          <a:p>
            <a:pPr algn="r">
              <a:buFont typeface="Arial" panose="020B0604020202020204" pitchFamily="34" charset="0"/>
              <a:buChar char="•"/>
            </a:pPr>
            <a:r>
              <a:rPr lang="el-GR" sz="1600"/>
              <a:t>Μεταστροφή των πολιτικών προς συμμετοχικές, χωρίς αποκλεισμούς, αγορές ενέργειας</a:t>
            </a:r>
          </a:p>
        </p:txBody>
      </p:sp>
    </p:spTree>
    <p:extLst>
      <p:ext uri="{BB962C8B-B14F-4D97-AF65-F5344CB8AC3E}">
        <p14:creationId xmlns:p14="http://schemas.microsoft.com/office/powerpoint/2010/main" val="3646762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E7CC50-10D1-141E-45DF-6693F30C168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1C83C80-B10C-E2DA-442A-D0EF59BA7242}"/>
              </a:ext>
            </a:extLst>
          </p:cNvPr>
          <p:cNvSpPr>
            <a:spLocks noGrp="1"/>
          </p:cNvSpPr>
          <p:nvPr>
            <p:ph type="title"/>
          </p:nvPr>
        </p:nvSpPr>
        <p:spPr>
          <a:xfrm>
            <a:off x="443372" y="379660"/>
            <a:ext cx="11305716" cy="984885"/>
          </a:xfrm>
        </p:spPr>
        <p:txBody>
          <a:bodyPr/>
          <a:lstStyle/>
          <a:p>
            <a:r>
              <a:rPr lang="el-GR">
                <a:solidFill>
                  <a:srgbClr val="0F55F5"/>
                </a:solidFill>
              </a:rPr>
              <a:t>Οι υψηλές τιμές των ευρωπαϊκών δικαιωμάτων ρύπων καθιστά επιτακτική την ενεργειακή μετάβαση στην ΕΕ</a:t>
            </a:r>
            <a:endParaRPr lang="en-US">
              <a:solidFill>
                <a:srgbClr val="0F55F5"/>
              </a:solidFill>
            </a:endParaRPr>
          </a:p>
        </p:txBody>
      </p:sp>
      <p:sp>
        <p:nvSpPr>
          <p:cNvPr id="5" name="Slide Number Placeholder 4">
            <a:extLst>
              <a:ext uri="{FF2B5EF4-FFF2-40B4-BE49-F238E27FC236}">
                <a16:creationId xmlns:a16="http://schemas.microsoft.com/office/drawing/2014/main" id="{D96F8F9D-9B84-2028-BD23-68AE25BD74BB}"/>
              </a:ext>
            </a:extLst>
          </p:cNvPr>
          <p:cNvSpPr>
            <a:spLocks noGrp="1"/>
          </p:cNvSpPr>
          <p:nvPr>
            <p:ph type="sldNum" sz="quarter" idx="16"/>
          </p:nvPr>
        </p:nvSpPr>
        <p:spPr/>
        <p:txBody>
          <a:bodyPr/>
          <a:lstStyle/>
          <a:p>
            <a:fld id="{4531D9DC-ADF0-4D0A-8902-0133E3C6D94B}" type="slidenum">
              <a:rPr lang="en-US" smtClean="0"/>
              <a:pPr/>
              <a:t>11</a:t>
            </a:fld>
            <a:endParaRPr lang="en-US"/>
          </a:p>
        </p:txBody>
      </p:sp>
      <p:pic>
        <p:nvPicPr>
          <p:cNvPr id="7" name="Picture 6">
            <a:extLst>
              <a:ext uri="{FF2B5EF4-FFF2-40B4-BE49-F238E27FC236}">
                <a16:creationId xmlns:a16="http://schemas.microsoft.com/office/drawing/2014/main" id="{E208C17A-EEF5-43A7-1D3A-E6D5B2D642E2}"/>
              </a:ext>
            </a:extLst>
          </p:cNvPr>
          <p:cNvPicPr>
            <a:picLocks noChangeAspect="1"/>
          </p:cNvPicPr>
          <p:nvPr/>
        </p:nvPicPr>
        <p:blipFill>
          <a:blip r:embed="rId3"/>
          <a:stretch>
            <a:fillRect/>
          </a:stretch>
        </p:blipFill>
        <p:spPr>
          <a:xfrm>
            <a:off x="695372" y="1364545"/>
            <a:ext cx="8279665" cy="4894417"/>
          </a:xfrm>
          <a:prstGeom prst="rect">
            <a:avLst/>
          </a:prstGeom>
        </p:spPr>
      </p:pic>
      <p:sp>
        <p:nvSpPr>
          <p:cNvPr id="13" name="TextBox 12">
            <a:extLst>
              <a:ext uri="{FF2B5EF4-FFF2-40B4-BE49-F238E27FC236}">
                <a16:creationId xmlns:a16="http://schemas.microsoft.com/office/drawing/2014/main" id="{65120A41-917F-53D4-7163-4C9CE32DE3F8}"/>
              </a:ext>
            </a:extLst>
          </p:cNvPr>
          <p:cNvSpPr txBox="1"/>
          <p:nvPr/>
        </p:nvSpPr>
        <p:spPr>
          <a:xfrm>
            <a:off x="8975037" y="2349430"/>
            <a:ext cx="3269511" cy="2062103"/>
          </a:xfrm>
          <a:prstGeom prst="rect">
            <a:avLst/>
          </a:prstGeom>
          <a:noFill/>
        </p:spPr>
        <p:txBody>
          <a:bodyPr wrap="square">
            <a:spAutoFit/>
          </a:bodyPr>
          <a:lstStyle/>
          <a:p>
            <a:r>
              <a:rPr lang="el-GR" sz="1600"/>
              <a:t>Παρά τη μείωση της τιμής των δικαιωμάτων εκπομπών στην Ευρώπη, ως αποτέλεσμα της χαμηλότερης βιομηχανικής ζήτησης, της οικονομικής ύφεσης και των προσαρμογών της αγοράς, η ανάγκη για ενεργειακή μετάβαση παραμένει επιτακτική.</a:t>
            </a:r>
            <a:endParaRPr lang="en-US" sz="1600"/>
          </a:p>
        </p:txBody>
      </p:sp>
      <p:sp>
        <p:nvSpPr>
          <p:cNvPr id="2" name="TextBox 1">
            <a:extLst>
              <a:ext uri="{FF2B5EF4-FFF2-40B4-BE49-F238E27FC236}">
                <a16:creationId xmlns:a16="http://schemas.microsoft.com/office/drawing/2014/main" id="{E7FEE2E3-972E-1874-7BBA-421FF87E6CD0}"/>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a:t>ΕΜΒΕ</a:t>
            </a:r>
            <a:endParaRPr lang="en-US" sz="1200">
              <a:solidFill>
                <a:schemeClr val="tx1"/>
              </a:solidFill>
            </a:endParaRPr>
          </a:p>
        </p:txBody>
      </p:sp>
    </p:spTree>
    <p:extLst>
      <p:ext uri="{BB962C8B-B14F-4D97-AF65-F5344CB8AC3E}">
        <p14:creationId xmlns:p14="http://schemas.microsoft.com/office/powerpoint/2010/main" val="345640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20AFE3-951C-0417-2C89-38DFDEE85873}"/>
            </a:ext>
          </a:extLst>
        </p:cNvPr>
        <p:cNvGrpSpPr/>
        <p:nvPr/>
      </p:nvGrpSpPr>
      <p:grpSpPr>
        <a:xfrm>
          <a:off x="0" y="0"/>
          <a:ext cx="0" cy="0"/>
          <a:chOff x="0" y="0"/>
          <a:chExt cx="0" cy="0"/>
        </a:xfrm>
      </p:grpSpPr>
      <p:pic>
        <p:nvPicPr>
          <p:cNvPr id="15" name="Picture 14">
            <a:extLst>
              <a:ext uri="{FF2B5EF4-FFF2-40B4-BE49-F238E27FC236}">
                <a16:creationId xmlns:a16="http://schemas.microsoft.com/office/drawing/2014/main" id="{BD3A54BA-D033-14EE-5770-4B917EE915D1}"/>
              </a:ext>
            </a:extLst>
          </p:cNvPr>
          <p:cNvPicPr>
            <a:picLocks noChangeAspect="1"/>
          </p:cNvPicPr>
          <p:nvPr/>
        </p:nvPicPr>
        <p:blipFill>
          <a:blip r:embed="rId3"/>
          <a:stretch>
            <a:fillRect/>
          </a:stretch>
        </p:blipFill>
        <p:spPr>
          <a:xfrm>
            <a:off x="5774268" y="1561200"/>
            <a:ext cx="5156000" cy="4341296"/>
          </a:xfrm>
          <a:prstGeom prst="rect">
            <a:avLst/>
          </a:prstGeom>
        </p:spPr>
      </p:pic>
      <p:sp>
        <p:nvSpPr>
          <p:cNvPr id="6" name="Title 5">
            <a:extLst>
              <a:ext uri="{FF2B5EF4-FFF2-40B4-BE49-F238E27FC236}">
                <a16:creationId xmlns:a16="http://schemas.microsoft.com/office/drawing/2014/main" id="{B55EF836-F5B0-3E79-0452-BB1240F97F01}"/>
              </a:ext>
            </a:extLst>
          </p:cNvPr>
          <p:cNvSpPr>
            <a:spLocks noGrp="1"/>
          </p:cNvSpPr>
          <p:nvPr>
            <p:ph type="title"/>
          </p:nvPr>
        </p:nvSpPr>
        <p:spPr>
          <a:xfrm>
            <a:off x="443372" y="379660"/>
            <a:ext cx="11305716" cy="984885"/>
          </a:xfrm>
        </p:spPr>
        <p:txBody>
          <a:bodyPr/>
          <a:lstStyle/>
          <a:p>
            <a:r>
              <a:rPr lang="el-GR">
                <a:solidFill>
                  <a:srgbClr val="0F55F5"/>
                </a:solidFill>
              </a:rPr>
              <a:t>Ένταση εκπομπών CO₂ στην ηλεκτροπαραγωγή των κρατών-μελών της ΕΕ [2024]</a:t>
            </a:r>
            <a:endParaRPr lang="en-US">
              <a:solidFill>
                <a:srgbClr val="0F55F5"/>
              </a:solidFill>
            </a:endParaRPr>
          </a:p>
        </p:txBody>
      </p:sp>
      <p:sp>
        <p:nvSpPr>
          <p:cNvPr id="9" name="TextBox 8">
            <a:extLst>
              <a:ext uri="{FF2B5EF4-FFF2-40B4-BE49-F238E27FC236}">
                <a16:creationId xmlns:a16="http://schemas.microsoft.com/office/drawing/2014/main" id="{44207A56-0ABA-637F-67B7-8F68E05467D6}"/>
              </a:ext>
            </a:extLst>
          </p:cNvPr>
          <p:cNvSpPr txBox="1"/>
          <p:nvPr/>
        </p:nvSpPr>
        <p:spPr>
          <a:xfrm>
            <a:off x="443372" y="1809192"/>
            <a:ext cx="5093828" cy="3570208"/>
          </a:xfrm>
          <a:prstGeom prst="rect">
            <a:avLst/>
          </a:prstGeom>
          <a:noFill/>
        </p:spPr>
        <p:txBody>
          <a:bodyPr wrap="square">
            <a:spAutoFit/>
          </a:bodyPr>
          <a:lstStyle/>
          <a:p>
            <a:pPr fontAlgn="base">
              <a:buNone/>
            </a:pPr>
            <a:r>
              <a:rPr lang="el-GR" sz="1800" b="0" i="0">
                <a:solidFill>
                  <a:srgbClr val="000000"/>
                </a:solidFill>
                <a:effectLst/>
                <a:latin typeface="Aptos" panose="020B0004020202020204" pitchFamily="34" charset="0"/>
              </a:rPr>
              <a:t>✅ </a:t>
            </a:r>
            <a:r>
              <a:rPr lang="el-GR" sz="1600"/>
              <a:t>Η </a:t>
            </a:r>
            <a:r>
              <a:rPr lang="el-GR" sz="1600" b="1">
                <a:solidFill>
                  <a:schemeClr val="accent2"/>
                </a:solidFill>
              </a:rPr>
              <a:t>Σουηδία και η Γαλλία </a:t>
            </a:r>
            <a:r>
              <a:rPr lang="el-GR" sz="1600"/>
              <a:t>καταγράφουν τη </a:t>
            </a:r>
            <a:r>
              <a:rPr lang="el-GR" sz="1600" b="1">
                <a:solidFill>
                  <a:schemeClr val="accent2"/>
                </a:solidFill>
              </a:rPr>
              <a:t>χαμηλότερη ένταση </a:t>
            </a:r>
            <a:r>
              <a:rPr lang="el-GR" sz="1600"/>
              <a:t>εκπομπών στην Ευρώπη, ξεπερνώντας σημαντικά τον μέσο ευρωπαϊκό όρο αποτυπώματος άνθρακα.</a:t>
            </a:r>
          </a:p>
          <a:p>
            <a:pPr fontAlgn="base">
              <a:buNone/>
            </a:pPr>
            <a:r>
              <a:rPr lang="el-GR" sz="1600"/>
              <a:t>✅ Η </a:t>
            </a:r>
            <a:r>
              <a:rPr lang="el-GR" sz="1600" b="1">
                <a:solidFill>
                  <a:schemeClr val="accent2"/>
                </a:solidFill>
              </a:rPr>
              <a:t>Πολωνία</a:t>
            </a:r>
            <a:r>
              <a:rPr lang="el-GR" sz="1600"/>
              <a:t> εμφανίζει τη </a:t>
            </a:r>
            <a:r>
              <a:rPr lang="el-GR" sz="1600" b="1">
                <a:solidFill>
                  <a:schemeClr val="accent2"/>
                </a:solidFill>
              </a:rPr>
              <a:t>μεγαλύτερη ένταση εκπομπών </a:t>
            </a:r>
            <a:r>
              <a:rPr lang="el-GR" sz="1600"/>
              <a:t>στην Ευρώπη, ξεπερνώντας τα 650 gCO₂/kWh, γεγονός που αντικατοπτρίζει τη σημαντική εξάρτηση απο λιγνίτες και ορυκτά καύσιμα.</a:t>
            </a:r>
          </a:p>
          <a:p>
            <a:pPr fontAlgn="base">
              <a:buNone/>
            </a:pPr>
            <a:r>
              <a:rPr lang="el-GR" sz="1600"/>
              <a:t>✅ Η ένταση εκπομπών της </a:t>
            </a:r>
            <a:r>
              <a:rPr lang="el-GR" sz="1600" b="1">
                <a:solidFill>
                  <a:schemeClr val="accent2"/>
                </a:solidFill>
              </a:rPr>
              <a:t>Ελλάδας</a:t>
            </a:r>
            <a:r>
              <a:rPr lang="el-GR" sz="1600"/>
              <a:t> </a:t>
            </a:r>
            <a:r>
              <a:rPr lang="el-GR" sz="1600" b="1">
                <a:solidFill>
                  <a:schemeClr val="accent2"/>
                </a:solidFill>
              </a:rPr>
              <a:t>βρίσκεται πάνω από τον μέσο όρο της ΕΕ</a:t>
            </a:r>
            <a:r>
              <a:rPr lang="el-GR" sz="1600"/>
              <a:t>, γεγονός που υποδηλώνει συνεχιζόμενη εξάρτηση από ορυκτά καύσιμα.</a:t>
            </a:r>
          </a:p>
          <a:p>
            <a:pPr fontAlgn="base">
              <a:buNone/>
            </a:pPr>
            <a:r>
              <a:rPr lang="el-GR" sz="1600"/>
              <a:t>✅ Η Ουγγαρία, η Τσεχία και η Γερμανία παραμένουν επίσης πάνω από τον μέσο όρο της ΕΕ, παρά την πρόοδό τους σε τεχνολογίες καθαρής</a:t>
            </a:r>
          </a:p>
        </p:txBody>
      </p:sp>
      <p:sp>
        <p:nvSpPr>
          <p:cNvPr id="12" name="TextBox 11">
            <a:extLst>
              <a:ext uri="{FF2B5EF4-FFF2-40B4-BE49-F238E27FC236}">
                <a16:creationId xmlns:a16="http://schemas.microsoft.com/office/drawing/2014/main" id="{C28C899A-9A22-5579-4150-C26958CF86EE}"/>
              </a:ext>
            </a:extLst>
          </p:cNvPr>
          <p:cNvSpPr txBox="1"/>
          <p:nvPr/>
        </p:nvSpPr>
        <p:spPr>
          <a:xfrm>
            <a:off x="8727901" y="2332354"/>
            <a:ext cx="2364456" cy="1084912"/>
          </a:xfrm>
          <a:prstGeom prst="rect">
            <a:avLst/>
          </a:prstGeom>
          <a:noFill/>
        </p:spPr>
        <p:txBody>
          <a:bodyPr wrap="square" rtlCol="0">
            <a:spAutoFit/>
          </a:bodyPr>
          <a:lstStyle/>
          <a:p>
            <a:pPr algn="ctr"/>
            <a:r>
              <a:rPr lang="en-US" sz="1100">
                <a:solidFill>
                  <a:srgbClr val="595959"/>
                </a:solidFill>
                <a:latin typeface="Verdana" panose="020B0604030504040204" pitchFamily="34" charset="0"/>
                <a:ea typeface="Verdana" panose="020B0604030504040204" pitchFamily="34" charset="0"/>
              </a:rPr>
              <a:t>EU27 Average</a:t>
            </a:r>
          </a:p>
          <a:p>
            <a:pPr algn="ctr"/>
            <a:endParaRPr lang="en-US" sz="1050">
              <a:solidFill>
                <a:srgbClr val="595959"/>
              </a:solidFill>
              <a:latin typeface="Verdana" panose="020B0604030504040204" pitchFamily="34" charset="0"/>
              <a:ea typeface="Verdana" panose="020B0604030504040204" pitchFamily="34" charset="0"/>
            </a:endParaRPr>
          </a:p>
          <a:p>
            <a:pPr algn="ctr"/>
            <a:endParaRPr lang="en-US" sz="1050">
              <a:solidFill>
                <a:srgbClr val="595959"/>
              </a:solidFill>
              <a:latin typeface="Verdana" panose="020B0604030504040204" pitchFamily="34" charset="0"/>
              <a:ea typeface="Verdana" panose="020B0604030504040204" pitchFamily="34" charset="0"/>
            </a:endParaRPr>
          </a:p>
          <a:p>
            <a:pPr algn="ctr"/>
            <a:endParaRPr lang="en-US" sz="1050">
              <a:solidFill>
                <a:srgbClr val="595959"/>
              </a:solidFill>
              <a:latin typeface="Verdana" panose="020B0604030504040204" pitchFamily="34" charset="0"/>
              <a:ea typeface="Verdana" panose="020B0604030504040204" pitchFamily="34" charset="0"/>
            </a:endParaRPr>
          </a:p>
          <a:p>
            <a:pPr algn="ctr"/>
            <a:br>
              <a:rPr lang="en-US" sz="1100">
                <a:solidFill>
                  <a:srgbClr val="595959"/>
                </a:solidFill>
                <a:latin typeface="Verdana" panose="020B0604030504040204" pitchFamily="34" charset="0"/>
                <a:ea typeface="Verdana" panose="020B0604030504040204" pitchFamily="34" charset="0"/>
              </a:rPr>
            </a:br>
            <a:r>
              <a:rPr lang="en-US" sz="1100">
                <a:solidFill>
                  <a:srgbClr val="595959"/>
                </a:solidFill>
                <a:latin typeface="Verdana" panose="020B0604030504040204" pitchFamily="34" charset="0"/>
                <a:ea typeface="Verdana" panose="020B0604030504040204" pitchFamily="34" charset="0"/>
              </a:rPr>
              <a:t>262.4 </a:t>
            </a:r>
            <a:r>
              <a:rPr kumimoji="0" lang="en-GB" sz="1100" b="0" i="0" u="none" strike="noStrike" kern="1200" cap="none" spc="0" normalizeH="0" baseline="0" noProof="0">
                <a:ln>
                  <a:noFill/>
                </a:ln>
                <a:solidFill>
                  <a:srgbClr val="595959"/>
                </a:solidFill>
                <a:effectLst/>
                <a:uLnTx/>
                <a:uFillTx/>
                <a:latin typeface="Verdana" panose="020B0604030504040204" pitchFamily="34" charset="0"/>
                <a:ea typeface="Verdana" panose="020B0604030504040204" pitchFamily="34" charset="0"/>
                <a:cs typeface="+mj-cs"/>
              </a:rPr>
              <a:t>grCO</a:t>
            </a:r>
            <a:r>
              <a:rPr kumimoji="0" lang="en-GB" sz="1100" b="0" i="0" u="none" strike="noStrike" kern="1200" cap="none" spc="0" normalizeH="0" baseline="-25000" noProof="0">
                <a:ln>
                  <a:noFill/>
                </a:ln>
                <a:solidFill>
                  <a:srgbClr val="595959"/>
                </a:solidFill>
                <a:effectLst/>
                <a:uLnTx/>
                <a:uFillTx/>
                <a:latin typeface="Verdana" panose="020B0604030504040204" pitchFamily="34" charset="0"/>
                <a:ea typeface="Verdana" panose="020B0604030504040204" pitchFamily="34" charset="0"/>
                <a:cs typeface="+mj-cs"/>
              </a:rPr>
              <a:t>2</a:t>
            </a:r>
            <a:r>
              <a:rPr kumimoji="0" lang="en-GB" sz="1100" b="0" i="0" u="none" strike="noStrike" kern="1200" cap="none" spc="0" normalizeH="0" noProof="0">
                <a:ln>
                  <a:noFill/>
                </a:ln>
                <a:solidFill>
                  <a:srgbClr val="595959"/>
                </a:solidFill>
                <a:effectLst/>
                <a:uLnTx/>
                <a:uFillTx/>
                <a:latin typeface="Verdana" panose="020B0604030504040204" pitchFamily="34" charset="0"/>
                <a:ea typeface="Verdana" panose="020B0604030504040204" pitchFamily="34" charset="0"/>
                <a:cs typeface="+mj-cs"/>
              </a:rPr>
              <a:t>/</a:t>
            </a:r>
            <a:r>
              <a:rPr kumimoji="0" lang="en-GB" sz="1100" b="0" i="0" u="none" strike="noStrike" kern="1200" cap="none" spc="0" normalizeH="0" noProof="0" err="1">
                <a:ln>
                  <a:noFill/>
                </a:ln>
                <a:solidFill>
                  <a:srgbClr val="595959"/>
                </a:solidFill>
                <a:effectLst/>
                <a:uLnTx/>
                <a:uFillTx/>
                <a:latin typeface="Verdana" panose="020B0604030504040204" pitchFamily="34" charset="0"/>
                <a:ea typeface="Verdana" panose="020B0604030504040204" pitchFamily="34" charset="0"/>
                <a:cs typeface="+mj-cs"/>
              </a:rPr>
              <a:t>KWh</a:t>
            </a:r>
            <a:endParaRPr lang="en-US" sz="1100">
              <a:solidFill>
                <a:srgbClr val="595959"/>
              </a:solidFill>
              <a:latin typeface="Verdana" panose="020B0604030504040204" pitchFamily="34" charset="0"/>
              <a:ea typeface="Verdana" panose="020B0604030504040204" pitchFamily="34" charset="0"/>
            </a:endParaRPr>
          </a:p>
        </p:txBody>
      </p:sp>
      <p:pic>
        <p:nvPicPr>
          <p:cNvPr id="13" name="Picture 12" descr="A blue flag with yellow stars in the center&#10;&#10;Description automatically generated">
            <a:extLst>
              <a:ext uri="{FF2B5EF4-FFF2-40B4-BE49-F238E27FC236}">
                <a16:creationId xmlns:a16="http://schemas.microsoft.com/office/drawing/2014/main" id="{6598149A-626E-4E7E-7E52-D5B53E7E3B83}"/>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551128" y="2635476"/>
            <a:ext cx="718001" cy="478667"/>
          </a:xfrm>
          <a:prstGeom prst="rect">
            <a:avLst/>
          </a:prstGeom>
        </p:spPr>
      </p:pic>
      <p:sp>
        <p:nvSpPr>
          <p:cNvPr id="14" name="Rectangle 13">
            <a:extLst>
              <a:ext uri="{FF2B5EF4-FFF2-40B4-BE49-F238E27FC236}">
                <a16:creationId xmlns:a16="http://schemas.microsoft.com/office/drawing/2014/main" id="{AED37E85-9A5D-933A-2C2D-A4F46A50E5E4}"/>
              </a:ext>
            </a:extLst>
          </p:cNvPr>
          <p:cNvSpPr/>
          <p:nvPr/>
        </p:nvSpPr>
        <p:spPr>
          <a:xfrm>
            <a:off x="6096000" y="4631266"/>
            <a:ext cx="2497667" cy="152400"/>
          </a:xfrm>
          <a:prstGeom prst="rect">
            <a:avLst/>
          </a:prstGeom>
          <a:noFill/>
          <a:ln w="28575">
            <a:solidFill>
              <a:srgbClr val="C0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E741D4F-1907-1028-A09F-577482DD0CD5}"/>
              </a:ext>
            </a:extLst>
          </p:cNvPr>
          <p:cNvSpPr txBox="1"/>
          <p:nvPr/>
        </p:nvSpPr>
        <p:spPr>
          <a:xfrm>
            <a:off x="6015887" y="1248195"/>
            <a:ext cx="5424028" cy="584775"/>
          </a:xfrm>
          <a:prstGeom prst="rect">
            <a:avLst/>
          </a:prstGeom>
          <a:noFill/>
        </p:spPr>
        <p:txBody>
          <a:bodyPr wrap="square">
            <a:spAutoFit/>
          </a:bodyPr>
          <a:lstStyle/>
          <a:p>
            <a:pPr algn="r"/>
            <a:r>
              <a:rPr lang="el-GR" sz="1600">
                <a:solidFill>
                  <a:srgbClr val="0F55F5"/>
                </a:solidFill>
              </a:rPr>
              <a:t>Ένταση</a:t>
            </a:r>
            <a:r>
              <a:rPr lang="el-GR" sz="1600"/>
              <a:t> </a:t>
            </a:r>
            <a:r>
              <a:rPr lang="el-GR" sz="1600">
                <a:solidFill>
                  <a:srgbClr val="0F55F5"/>
                </a:solidFill>
              </a:rPr>
              <a:t>εκπομπών άνθρακα (gCO₂/kWh) στην Ευρώπη, [2024]</a:t>
            </a:r>
            <a:endParaRPr lang="en-US" sz="1600">
              <a:solidFill>
                <a:srgbClr val="0F55F5"/>
              </a:solidFill>
            </a:endParaRPr>
          </a:p>
        </p:txBody>
      </p:sp>
      <p:sp>
        <p:nvSpPr>
          <p:cNvPr id="2" name="TextBox 1">
            <a:extLst>
              <a:ext uri="{FF2B5EF4-FFF2-40B4-BE49-F238E27FC236}">
                <a16:creationId xmlns:a16="http://schemas.microsoft.com/office/drawing/2014/main" id="{1284EF5F-F222-963F-9084-ABFDF4E38510}"/>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Eurostat</a:t>
            </a:r>
          </a:p>
        </p:txBody>
      </p:sp>
    </p:spTree>
    <p:extLst>
      <p:ext uri="{BB962C8B-B14F-4D97-AF65-F5344CB8AC3E}">
        <p14:creationId xmlns:p14="http://schemas.microsoft.com/office/powerpoint/2010/main" val="29211172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4E4535-75BE-54D2-C459-BA7A3BB0D637}"/>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CE9C4579-D0EA-C471-BE85-A3C8CCFE0865}"/>
              </a:ext>
            </a:extLst>
          </p:cNvPr>
          <p:cNvSpPr>
            <a:spLocks noGrp="1"/>
          </p:cNvSpPr>
          <p:nvPr>
            <p:ph type="title"/>
          </p:nvPr>
        </p:nvSpPr>
        <p:spPr>
          <a:xfrm>
            <a:off x="1233362" y="2065896"/>
            <a:ext cx="8136000" cy="646331"/>
          </a:xfrm>
        </p:spPr>
        <p:txBody>
          <a:bodyPr/>
          <a:lstStyle/>
          <a:p>
            <a:r>
              <a:rPr lang="en-US"/>
              <a:t>H </a:t>
            </a:r>
            <a:r>
              <a:rPr lang="el-GR"/>
              <a:t>Αγορά των ΑΠΕ</a:t>
            </a:r>
            <a:endParaRPr lang="en-US"/>
          </a:p>
        </p:txBody>
      </p:sp>
      <p:sp>
        <p:nvSpPr>
          <p:cNvPr id="3" name="Date Placeholder 2" hidden="1">
            <a:extLst>
              <a:ext uri="{FF2B5EF4-FFF2-40B4-BE49-F238E27FC236}">
                <a16:creationId xmlns:a16="http://schemas.microsoft.com/office/drawing/2014/main" id="{36C4BDB3-1007-5DE7-3F13-D3E5B606E6F6}"/>
              </a:ext>
            </a:extLst>
          </p:cNvPr>
          <p:cNvSpPr>
            <a:spLocks noGrp="1"/>
          </p:cNvSpPr>
          <p:nvPr>
            <p:ph type="dt" sz="half" idx="4294967295"/>
          </p:nvPr>
        </p:nvSpPr>
        <p:spPr>
          <a:xfrm>
            <a:off x="11471275" y="6259513"/>
            <a:ext cx="720725" cy="153987"/>
          </a:xfrm>
        </p:spPr>
        <p:txBody>
          <a:bodyPr/>
          <a:lstStyle/>
          <a:p>
            <a:pPr>
              <a:spcAft>
                <a:spcPts val="600"/>
              </a:spcAft>
            </a:pPr>
            <a:fld id="{D91EECA1-CDD8-4918-8BBA-1AE2701A1BC0}" type="datetime1">
              <a:rPr lang="en-GB" smtClean="0"/>
              <a:pPr>
                <a:spcAft>
                  <a:spcPts val="600"/>
                </a:spcAft>
              </a:pPr>
              <a:t>06/06/2025</a:t>
            </a:fld>
            <a:endParaRPr lang="en-US"/>
          </a:p>
        </p:txBody>
      </p:sp>
      <p:sp>
        <p:nvSpPr>
          <p:cNvPr id="5" name="Slide Number Placeholder 4" hidden="1">
            <a:extLst>
              <a:ext uri="{FF2B5EF4-FFF2-40B4-BE49-F238E27FC236}">
                <a16:creationId xmlns:a16="http://schemas.microsoft.com/office/drawing/2014/main" id="{17A78464-42F2-FB93-47D6-BC1E4A7B5A20}"/>
              </a:ext>
            </a:extLst>
          </p:cNvPr>
          <p:cNvSpPr>
            <a:spLocks noGrp="1"/>
          </p:cNvSpPr>
          <p:nvPr>
            <p:ph type="sldNum" sz="quarter" idx="4294967295"/>
          </p:nvPr>
        </p:nvSpPr>
        <p:spPr>
          <a:xfrm>
            <a:off x="0" y="6259513"/>
            <a:ext cx="252413" cy="153987"/>
          </a:xfrm>
        </p:spPr>
        <p:txBody>
          <a:bodyPr/>
          <a:lstStyle/>
          <a:p>
            <a:pPr>
              <a:spcAft>
                <a:spcPts val="600"/>
              </a:spcAft>
            </a:pPr>
            <a:fld id="{4531D9DC-ADF0-4D0A-8902-0133E3C6D94B}" type="slidenum">
              <a:rPr lang="en-US" smtClean="0"/>
              <a:pPr>
                <a:spcAft>
                  <a:spcPts val="600"/>
                </a:spcAft>
              </a:pPr>
              <a:t>13</a:t>
            </a:fld>
            <a:endParaRPr lang="en-US"/>
          </a:p>
        </p:txBody>
      </p:sp>
    </p:spTree>
    <p:extLst>
      <p:ext uri="{BB962C8B-B14F-4D97-AF65-F5344CB8AC3E}">
        <p14:creationId xmlns:p14="http://schemas.microsoft.com/office/powerpoint/2010/main" val="2595319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0ABC9C-59D7-DADF-F29E-43A270A5E7CE}"/>
              </a:ext>
            </a:extLst>
          </p:cNvPr>
          <p:cNvSpPr>
            <a:spLocks noGrp="1"/>
          </p:cNvSpPr>
          <p:nvPr>
            <p:ph type="sldNum" sz="quarter" idx="16"/>
          </p:nvPr>
        </p:nvSpPr>
        <p:spPr/>
        <p:txBody>
          <a:bodyPr/>
          <a:lstStyle/>
          <a:p>
            <a:fld id="{4531D9DC-ADF0-4D0A-8902-0133E3C6D94B}" type="slidenum">
              <a:rPr lang="en-US" smtClean="0"/>
              <a:pPr/>
              <a:t>14</a:t>
            </a:fld>
            <a:endParaRPr lang="en-US"/>
          </a:p>
        </p:txBody>
      </p:sp>
      <p:sp>
        <p:nvSpPr>
          <p:cNvPr id="6" name="Title 5">
            <a:extLst>
              <a:ext uri="{FF2B5EF4-FFF2-40B4-BE49-F238E27FC236}">
                <a16:creationId xmlns:a16="http://schemas.microsoft.com/office/drawing/2014/main" id="{095A6AFA-516D-DD10-D7F9-7CEF339D1651}"/>
              </a:ext>
            </a:extLst>
          </p:cNvPr>
          <p:cNvSpPr>
            <a:spLocks noGrp="1"/>
          </p:cNvSpPr>
          <p:nvPr>
            <p:ph type="title"/>
          </p:nvPr>
        </p:nvSpPr>
        <p:spPr>
          <a:xfrm>
            <a:off x="443372" y="379660"/>
            <a:ext cx="11305716" cy="861774"/>
          </a:xfrm>
        </p:spPr>
        <p:txBody>
          <a:bodyPr/>
          <a:lstStyle/>
          <a:p>
            <a:r>
              <a:rPr lang="el-GR" sz="2800">
                <a:solidFill>
                  <a:schemeClr val="accent2"/>
                </a:solidFill>
              </a:rPr>
              <a:t>Σύνολο Καθαρής Ηλεκτροπαραγωγής </a:t>
            </a:r>
            <a:r>
              <a:rPr lang="en-US" sz="2800">
                <a:solidFill>
                  <a:schemeClr val="accent2"/>
                </a:solidFill>
              </a:rPr>
              <a:t>(TWh) </a:t>
            </a:r>
            <a:r>
              <a:rPr lang="el-GR" sz="2800">
                <a:solidFill>
                  <a:schemeClr val="accent2"/>
                </a:solidFill>
              </a:rPr>
              <a:t>και στόχοι Εγκατεστημένης Ισχύος </a:t>
            </a:r>
            <a:r>
              <a:rPr lang="en-US" sz="2800">
                <a:solidFill>
                  <a:schemeClr val="accent2"/>
                </a:solidFill>
              </a:rPr>
              <a:t>(GW) </a:t>
            </a:r>
            <a:r>
              <a:rPr lang="el-GR" sz="2800">
                <a:solidFill>
                  <a:schemeClr val="accent2"/>
                </a:solidFill>
              </a:rPr>
              <a:t>για το 2030 &amp; 2050 (με βάση το ΕΣΕΚ )</a:t>
            </a:r>
            <a:endParaRPr lang="en-US" sz="2800">
              <a:solidFill>
                <a:schemeClr val="accent2"/>
              </a:solidFill>
            </a:endParaRPr>
          </a:p>
        </p:txBody>
      </p:sp>
      <p:graphicFrame>
        <p:nvGraphicFramePr>
          <p:cNvPr id="12" name="Chart 11">
            <a:extLst>
              <a:ext uri="{FF2B5EF4-FFF2-40B4-BE49-F238E27FC236}">
                <a16:creationId xmlns:a16="http://schemas.microsoft.com/office/drawing/2014/main" id="{51DB100F-45F3-4B57-9B1A-3B33AB9568A0}"/>
              </a:ext>
            </a:extLst>
          </p:cNvPr>
          <p:cNvGraphicFramePr>
            <a:graphicFrameLocks/>
          </p:cNvGraphicFramePr>
          <p:nvPr>
            <p:extLst>
              <p:ext uri="{D42A27DB-BD31-4B8C-83A1-F6EECF244321}">
                <p14:modId xmlns:p14="http://schemas.microsoft.com/office/powerpoint/2010/main" val="1859255146"/>
              </p:ext>
            </p:extLst>
          </p:nvPr>
        </p:nvGraphicFramePr>
        <p:xfrm>
          <a:off x="831056" y="1788655"/>
          <a:ext cx="10529887" cy="42249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1ACAA926-D5BA-498A-88F5-4BC185B5385B}"/>
              </a:ext>
            </a:extLst>
          </p:cNvPr>
          <p:cNvGraphicFramePr>
            <a:graphicFrameLocks/>
          </p:cNvGraphicFramePr>
          <p:nvPr>
            <p:extLst>
              <p:ext uri="{D42A27DB-BD31-4B8C-83A1-F6EECF244321}">
                <p14:modId xmlns:p14="http://schemas.microsoft.com/office/powerpoint/2010/main" val="2366072467"/>
              </p:ext>
            </p:extLst>
          </p:nvPr>
        </p:nvGraphicFramePr>
        <p:xfrm>
          <a:off x="3054324" y="3017520"/>
          <a:ext cx="2687358" cy="8229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50B6A3FB-0E2F-421D-A7A4-A1FF8AD3C46A}"/>
              </a:ext>
            </a:extLst>
          </p:cNvPr>
          <p:cNvGraphicFramePr>
            <a:graphicFrameLocks/>
          </p:cNvGraphicFramePr>
          <p:nvPr>
            <p:extLst>
              <p:ext uri="{D42A27DB-BD31-4B8C-83A1-F6EECF244321}">
                <p14:modId xmlns:p14="http://schemas.microsoft.com/office/powerpoint/2010/main" val="2948135364"/>
              </p:ext>
            </p:extLst>
          </p:nvPr>
        </p:nvGraphicFramePr>
        <p:xfrm>
          <a:off x="8090861" y="1189969"/>
          <a:ext cx="2682127" cy="822960"/>
        </p:xfrm>
        <a:graphic>
          <a:graphicData uri="http://schemas.openxmlformats.org/drawingml/2006/chart">
            <c:chart xmlns:c="http://schemas.openxmlformats.org/drawingml/2006/chart" xmlns:r="http://schemas.openxmlformats.org/officeDocument/2006/relationships" r:id="rId5"/>
          </a:graphicData>
        </a:graphic>
      </p:graphicFrame>
      <p:cxnSp>
        <p:nvCxnSpPr>
          <p:cNvPr id="16" name="Straight Connector 15">
            <a:extLst>
              <a:ext uri="{FF2B5EF4-FFF2-40B4-BE49-F238E27FC236}">
                <a16:creationId xmlns:a16="http://schemas.microsoft.com/office/drawing/2014/main" id="{BD78A848-7B9F-25E4-6D2A-E72E13D8A495}"/>
              </a:ext>
            </a:extLst>
          </p:cNvPr>
          <p:cNvCxnSpPr>
            <a:cxnSpLocks/>
          </p:cNvCxnSpPr>
          <p:nvPr/>
        </p:nvCxnSpPr>
        <p:spPr>
          <a:xfrm>
            <a:off x="4398003" y="3683805"/>
            <a:ext cx="0" cy="313349"/>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522DFD4-DB02-CFA5-4537-CE751F491F9D}"/>
              </a:ext>
            </a:extLst>
          </p:cNvPr>
          <p:cNvCxnSpPr>
            <a:cxnSpLocks/>
          </p:cNvCxnSpPr>
          <p:nvPr/>
        </p:nvCxnSpPr>
        <p:spPr>
          <a:xfrm>
            <a:off x="9431924" y="1808559"/>
            <a:ext cx="0" cy="204370"/>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08A74D9-C511-02C9-DCCF-B30F85B18DB0}"/>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NECP updated Aug 2024</a:t>
            </a:r>
          </a:p>
        </p:txBody>
      </p:sp>
    </p:spTree>
    <p:extLst>
      <p:ext uri="{BB962C8B-B14F-4D97-AF65-F5344CB8AC3E}">
        <p14:creationId xmlns:p14="http://schemas.microsoft.com/office/powerpoint/2010/main" val="3205524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448397-93B9-ABF7-F04B-F47B3AE5FC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52BA777-0C2E-B3C8-2DFC-6B2EB380F177}"/>
              </a:ext>
            </a:extLst>
          </p:cNvPr>
          <p:cNvSpPr>
            <a:spLocks noGrp="1"/>
          </p:cNvSpPr>
          <p:nvPr>
            <p:ph type="title"/>
          </p:nvPr>
        </p:nvSpPr>
        <p:spPr>
          <a:xfrm>
            <a:off x="443372" y="379660"/>
            <a:ext cx="11305716" cy="861774"/>
          </a:xfrm>
        </p:spPr>
        <p:txBody>
          <a:bodyPr/>
          <a:lstStyle/>
          <a:p>
            <a:r>
              <a:rPr lang="el-GR" sz="2800">
                <a:solidFill>
                  <a:schemeClr val="accent2"/>
                </a:solidFill>
              </a:rPr>
              <a:t>Βασικά σημεία και στόχοι του ΕΣΕΚ 2024: Πρόοδος και αλλαγές σε σχέση με τον ΕΣΕΚ 2019</a:t>
            </a:r>
            <a:endParaRPr lang="en-US" sz="2800">
              <a:solidFill>
                <a:schemeClr val="accent2"/>
              </a:solidFill>
            </a:endParaRPr>
          </a:p>
        </p:txBody>
      </p:sp>
      <p:grpSp>
        <p:nvGrpSpPr>
          <p:cNvPr id="7" name="Group 6">
            <a:extLst>
              <a:ext uri="{FF2B5EF4-FFF2-40B4-BE49-F238E27FC236}">
                <a16:creationId xmlns:a16="http://schemas.microsoft.com/office/drawing/2014/main" id="{7B1000CC-9C4E-F8A9-748A-297A62810C84}"/>
              </a:ext>
            </a:extLst>
          </p:cNvPr>
          <p:cNvGrpSpPr/>
          <p:nvPr/>
        </p:nvGrpSpPr>
        <p:grpSpPr>
          <a:xfrm>
            <a:off x="10374968" y="1462248"/>
            <a:ext cx="1269304" cy="425826"/>
            <a:chOff x="5252856" y="-3527633"/>
            <a:chExt cx="1227768" cy="425826"/>
          </a:xfrm>
        </p:grpSpPr>
        <p:sp>
          <p:nvSpPr>
            <p:cNvPr id="60" name="Rectangle 59">
              <a:extLst>
                <a:ext uri="{FF2B5EF4-FFF2-40B4-BE49-F238E27FC236}">
                  <a16:creationId xmlns:a16="http://schemas.microsoft.com/office/drawing/2014/main" id="{91E2FC58-BA85-B833-24C9-90B3B51FCFD7}"/>
                </a:ext>
              </a:extLst>
            </p:cNvPr>
            <p:cNvSpPr/>
            <p:nvPr/>
          </p:nvSpPr>
          <p:spPr>
            <a:xfrm>
              <a:off x="5252856" y="-3442548"/>
              <a:ext cx="91440" cy="91440"/>
            </a:xfrm>
            <a:prstGeom prst="rect">
              <a:avLst/>
            </a:prstGeom>
            <a:solidFill>
              <a:srgbClr val="0D8390"/>
            </a:solidFill>
            <a:ln>
              <a:solidFill>
                <a:srgbClr val="0D83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61" name="Isosceles Triangle 60">
              <a:extLst>
                <a:ext uri="{FF2B5EF4-FFF2-40B4-BE49-F238E27FC236}">
                  <a16:creationId xmlns:a16="http://schemas.microsoft.com/office/drawing/2014/main" id="{9CCAB23D-ADD0-632E-DADC-8EEDCEF1B8DF}"/>
                </a:ext>
              </a:extLst>
            </p:cNvPr>
            <p:cNvSpPr/>
            <p:nvPr/>
          </p:nvSpPr>
          <p:spPr>
            <a:xfrm>
              <a:off x="5267062" y="-3257840"/>
              <a:ext cx="91440" cy="91440"/>
            </a:xfrm>
            <a:prstGeom prst="triangle">
              <a:avLst/>
            </a:prstGeom>
            <a:solidFill>
              <a:srgbClr val="E63A57"/>
            </a:solidFill>
            <a:ln>
              <a:solidFill>
                <a:srgbClr val="E63A5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Verdana" panose="020B0604030504040204" pitchFamily="34" charset="0"/>
                <a:ea typeface="Verdana" panose="020B0604030504040204" pitchFamily="34" charset="0"/>
              </a:endParaRPr>
            </a:p>
          </p:txBody>
        </p:sp>
        <p:sp>
          <p:nvSpPr>
            <p:cNvPr id="62" name="TextBox 61">
              <a:extLst>
                <a:ext uri="{FF2B5EF4-FFF2-40B4-BE49-F238E27FC236}">
                  <a16:creationId xmlns:a16="http://schemas.microsoft.com/office/drawing/2014/main" id="{5D34DCFF-589B-B83D-CD56-9109CFDFFB3C}"/>
                </a:ext>
              </a:extLst>
            </p:cNvPr>
            <p:cNvSpPr txBox="1"/>
            <p:nvPr/>
          </p:nvSpPr>
          <p:spPr>
            <a:xfrm>
              <a:off x="5372710" y="-3527633"/>
              <a:ext cx="988060" cy="261610"/>
            </a:xfrm>
            <a:prstGeom prst="rect">
              <a:avLst/>
            </a:prstGeom>
            <a:noFill/>
          </p:spPr>
          <p:txBody>
            <a:bodyPr wrap="square" rtlCol="0">
              <a:spAutoFit/>
            </a:bodyPr>
            <a:lstStyle/>
            <a:p>
              <a:r>
                <a:rPr lang="en-US" sz="1100">
                  <a:latin typeface="Verdana" panose="020B0604030504040204" pitchFamily="34" charset="0"/>
                  <a:ea typeface="Verdana" panose="020B0604030504040204" pitchFamily="34" charset="0"/>
                </a:rPr>
                <a:t>NECP 2019</a:t>
              </a:r>
            </a:p>
          </p:txBody>
        </p:sp>
        <p:sp>
          <p:nvSpPr>
            <p:cNvPr id="63" name="TextBox 62">
              <a:extLst>
                <a:ext uri="{FF2B5EF4-FFF2-40B4-BE49-F238E27FC236}">
                  <a16:creationId xmlns:a16="http://schemas.microsoft.com/office/drawing/2014/main" id="{EA49E12E-588D-E12D-AC05-D20EF2ACC2F2}"/>
                </a:ext>
              </a:extLst>
            </p:cNvPr>
            <p:cNvSpPr txBox="1"/>
            <p:nvPr/>
          </p:nvSpPr>
          <p:spPr>
            <a:xfrm>
              <a:off x="5372710" y="-3363417"/>
              <a:ext cx="1107914" cy="261610"/>
            </a:xfrm>
            <a:prstGeom prst="rect">
              <a:avLst/>
            </a:prstGeom>
            <a:noFill/>
          </p:spPr>
          <p:txBody>
            <a:bodyPr wrap="square" rtlCol="0">
              <a:spAutoFit/>
            </a:bodyPr>
            <a:lstStyle/>
            <a:p>
              <a:r>
                <a:rPr lang="en-US" sz="1100">
                  <a:latin typeface="Verdana" panose="020B0604030504040204" pitchFamily="34" charset="0"/>
                  <a:ea typeface="Verdana" panose="020B0604030504040204" pitchFamily="34" charset="0"/>
                </a:rPr>
                <a:t>NECP 2024</a:t>
              </a:r>
            </a:p>
          </p:txBody>
        </p:sp>
      </p:grpSp>
      <p:grpSp>
        <p:nvGrpSpPr>
          <p:cNvPr id="13" name="Group 12">
            <a:extLst>
              <a:ext uri="{FF2B5EF4-FFF2-40B4-BE49-F238E27FC236}">
                <a16:creationId xmlns:a16="http://schemas.microsoft.com/office/drawing/2014/main" id="{DDF9449C-A9B2-69D9-031C-9B7FBFE3A6B2}"/>
              </a:ext>
            </a:extLst>
          </p:cNvPr>
          <p:cNvGrpSpPr/>
          <p:nvPr/>
        </p:nvGrpSpPr>
        <p:grpSpPr>
          <a:xfrm>
            <a:off x="232587" y="1782269"/>
            <a:ext cx="6708648" cy="1058220"/>
            <a:chOff x="438439" y="40665"/>
            <a:chExt cx="6708648" cy="1058220"/>
          </a:xfrm>
        </p:grpSpPr>
        <p:sp>
          <p:nvSpPr>
            <p:cNvPr id="50" name="Ορθογώνιο 9">
              <a:extLst>
                <a:ext uri="{FF2B5EF4-FFF2-40B4-BE49-F238E27FC236}">
                  <a16:creationId xmlns:a16="http://schemas.microsoft.com/office/drawing/2014/main" id="{5B9DB753-AC45-3F72-C77C-C719605D4BFC}"/>
                </a:ext>
              </a:extLst>
            </p:cNvPr>
            <p:cNvSpPr/>
            <p:nvPr/>
          </p:nvSpPr>
          <p:spPr>
            <a:xfrm>
              <a:off x="932223" y="606258"/>
              <a:ext cx="5518297" cy="334322"/>
            </a:xfrm>
            <a:prstGeom prst="rect">
              <a:avLst/>
            </a:prstGeom>
          </p:spPr>
          <p:txBody>
            <a:bodyPr wrap="square">
              <a:spAutoFit/>
            </a:bodyPr>
            <a:lstStyle/>
            <a:p>
              <a:pPr marL="114300" algn="just" fontAlgn="ctr">
                <a:lnSpc>
                  <a:spcPct val="90000"/>
                </a:lnSpc>
                <a:spcBef>
                  <a:spcPct val="0"/>
                </a:spcBef>
                <a:buClr>
                  <a:srgbClr val="5B9BD5"/>
                </a:buClr>
                <a:defRPr/>
              </a:pPr>
              <a:endParaRPr lang="en-GB" sz="1700">
                <a:solidFill>
                  <a:srgbClr val="417505"/>
                </a:solidFill>
                <a:latin typeface="Verdana" panose="020B0604030504040204" pitchFamily="34" charset="0"/>
                <a:ea typeface="Verdana" panose="020B0604030504040204" pitchFamily="34" charset="0"/>
              </a:endParaRPr>
            </a:p>
          </p:txBody>
        </p:sp>
        <p:sp>
          <p:nvSpPr>
            <p:cNvPr id="51" name="Rectangle 50">
              <a:extLst>
                <a:ext uri="{FF2B5EF4-FFF2-40B4-BE49-F238E27FC236}">
                  <a16:creationId xmlns:a16="http://schemas.microsoft.com/office/drawing/2014/main" id="{B7F7E0DB-9899-5B1D-589A-CC8F8752130D}"/>
                </a:ext>
              </a:extLst>
            </p:cNvPr>
            <p:cNvSpPr/>
            <p:nvPr/>
          </p:nvSpPr>
          <p:spPr>
            <a:xfrm>
              <a:off x="989842" y="341234"/>
              <a:ext cx="5622910" cy="553999"/>
            </a:xfrm>
            <a:prstGeom prst="rect">
              <a:avLst/>
            </a:prstGeom>
            <a:solidFill>
              <a:srgbClr val="FFCD0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Verdana" panose="020B0604030504040204" pitchFamily="34" charset="0"/>
                <a:ea typeface="Verdana" panose="020B0604030504040204" pitchFamily="34" charset="0"/>
              </a:endParaRPr>
            </a:p>
          </p:txBody>
        </p:sp>
        <p:pic>
          <p:nvPicPr>
            <p:cNvPr id="52" name="Graphic 51" descr="Solar Panels with solid fill">
              <a:extLst>
                <a:ext uri="{FF2B5EF4-FFF2-40B4-BE49-F238E27FC236}">
                  <a16:creationId xmlns:a16="http://schemas.microsoft.com/office/drawing/2014/main" id="{E04AF77B-5244-FFEB-A61A-89EAE13DB9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01400" y="184485"/>
              <a:ext cx="914400" cy="914400"/>
            </a:xfrm>
            <a:prstGeom prst="rect">
              <a:avLst/>
            </a:prstGeom>
          </p:spPr>
        </p:pic>
        <p:sp>
          <p:nvSpPr>
            <p:cNvPr id="53" name="TextBox 52">
              <a:extLst>
                <a:ext uri="{FF2B5EF4-FFF2-40B4-BE49-F238E27FC236}">
                  <a16:creationId xmlns:a16="http://schemas.microsoft.com/office/drawing/2014/main" id="{0FE2F375-6C8B-5CBD-C2F0-217FD1159570}"/>
                </a:ext>
              </a:extLst>
            </p:cNvPr>
            <p:cNvSpPr txBox="1"/>
            <p:nvPr/>
          </p:nvSpPr>
          <p:spPr>
            <a:xfrm>
              <a:off x="2251460" y="372993"/>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1.8</a:t>
              </a:r>
            </a:p>
            <a:p>
              <a:pPr algn="ctr"/>
              <a:r>
                <a:rPr lang="en-US" sz="1050">
                  <a:latin typeface="Verdana" panose="020B0604030504040204" pitchFamily="34" charset="0"/>
                  <a:ea typeface="Verdana" panose="020B0604030504040204" pitchFamily="34" charset="0"/>
                </a:rPr>
                <a:t>TWh</a:t>
              </a:r>
            </a:p>
          </p:txBody>
        </p:sp>
        <p:sp>
          <p:nvSpPr>
            <p:cNvPr id="54" name="TextBox 53">
              <a:extLst>
                <a:ext uri="{FF2B5EF4-FFF2-40B4-BE49-F238E27FC236}">
                  <a16:creationId xmlns:a16="http://schemas.microsoft.com/office/drawing/2014/main" id="{D9FAAE9D-F8C7-FFB6-223D-0401A1AEA81C}"/>
                </a:ext>
              </a:extLst>
            </p:cNvPr>
            <p:cNvSpPr txBox="1"/>
            <p:nvPr/>
          </p:nvSpPr>
          <p:spPr>
            <a:xfrm>
              <a:off x="1021592" y="372000"/>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7.7 </a:t>
              </a:r>
              <a:r>
                <a:rPr lang="en-US" sz="1050">
                  <a:latin typeface="Verdana" panose="020B0604030504040204" pitchFamily="34" charset="0"/>
                  <a:ea typeface="Verdana" panose="020B0604030504040204" pitchFamily="34" charset="0"/>
                </a:rPr>
                <a:t>GW</a:t>
              </a:r>
            </a:p>
          </p:txBody>
        </p:sp>
        <p:sp>
          <p:nvSpPr>
            <p:cNvPr id="55" name="TextBox 54">
              <a:extLst>
                <a:ext uri="{FF2B5EF4-FFF2-40B4-BE49-F238E27FC236}">
                  <a16:creationId xmlns:a16="http://schemas.microsoft.com/office/drawing/2014/main" id="{0BE51139-EA0D-8953-0F02-1A27B8F301FD}"/>
                </a:ext>
              </a:extLst>
            </p:cNvPr>
            <p:cNvSpPr txBox="1"/>
            <p:nvPr/>
          </p:nvSpPr>
          <p:spPr>
            <a:xfrm>
              <a:off x="5775397" y="372993"/>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20.4</a:t>
              </a:r>
            </a:p>
            <a:p>
              <a:pPr algn="ctr"/>
              <a:r>
                <a:rPr lang="en-US" sz="1050">
                  <a:latin typeface="Verdana" panose="020B0604030504040204" pitchFamily="34" charset="0"/>
                  <a:ea typeface="Verdana" panose="020B0604030504040204" pitchFamily="34" charset="0"/>
                </a:rPr>
                <a:t>TWh</a:t>
              </a:r>
            </a:p>
          </p:txBody>
        </p:sp>
        <p:sp>
          <p:nvSpPr>
            <p:cNvPr id="56" name="TextBox 55">
              <a:extLst>
                <a:ext uri="{FF2B5EF4-FFF2-40B4-BE49-F238E27FC236}">
                  <a16:creationId xmlns:a16="http://schemas.microsoft.com/office/drawing/2014/main" id="{1A360E05-91E4-A72F-F077-49FD8EDE9282}"/>
                </a:ext>
              </a:extLst>
            </p:cNvPr>
            <p:cNvSpPr txBox="1"/>
            <p:nvPr/>
          </p:nvSpPr>
          <p:spPr>
            <a:xfrm>
              <a:off x="4628019" y="372993"/>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3.5</a:t>
              </a:r>
            </a:p>
            <a:p>
              <a:pPr algn="ctr"/>
              <a:r>
                <a:rPr lang="en-US" sz="1050">
                  <a:latin typeface="Verdana" panose="020B0604030504040204" pitchFamily="34" charset="0"/>
                  <a:ea typeface="Verdana" panose="020B0604030504040204" pitchFamily="34" charset="0"/>
                </a:rPr>
                <a:t>GW</a:t>
              </a:r>
            </a:p>
          </p:txBody>
        </p:sp>
        <p:sp>
          <p:nvSpPr>
            <p:cNvPr id="57" name="TextBox 56">
              <a:extLst>
                <a:ext uri="{FF2B5EF4-FFF2-40B4-BE49-F238E27FC236}">
                  <a16:creationId xmlns:a16="http://schemas.microsoft.com/office/drawing/2014/main" id="{83A9481A-3A1D-4CAB-FEA1-A7B12F70039A}"/>
                </a:ext>
              </a:extLst>
            </p:cNvPr>
            <p:cNvSpPr txBox="1"/>
            <p:nvPr/>
          </p:nvSpPr>
          <p:spPr>
            <a:xfrm>
              <a:off x="5531303" y="532300"/>
              <a:ext cx="564388"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73%</a:t>
              </a:r>
            </a:p>
          </p:txBody>
        </p:sp>
        <p:sp>
          <p:nvSpPr>
            <p:cNvPr id="58" name="TextBox 57">
              <a:extLst>
                <a:ext uri="{FF2B5EF4-FFF2-40B4-BE49-F238E27FC236}">
                  <a16:creationId xmlns:a16="http://schemas.microsoft.com/office/drawing/2014/main" id="{D292564F-1D11-20AC-5EB0-FF516EBF2D57}"/>
                </a:ext>
              </a:extLst>
            </p:cNvPr>
            <p:cNvSpPr txBox="1"/>
            <p:nvPr/>
          </p:nvSpPr>
          <p:spPr>
            <a:xfrm>
              <a:off x="4254224" y="532300"/>
              <a:ext cx="509295"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75%</a:t>
              </a:r>
            </a:p>
          </p:txBody>
        </p:sp>
        <p:sp>
          <p:nvSpPr>
            <p:cNvPr id="59" name="TextBox 58">
              <a:extLst>
                <a:ext uri="{FF2B5EF4-FFF2-40B4-BE49-F238E27FC236}">
                  <a16:creationId xmlns:a16="http://schemas.microsoft.com/office/drawing/2014/main" id="{CFB4441B-8971-DE6F-32E6-703D248B05A5}"/>
                </a:ext>
              </a:extLst>
            </p:cNvPr>
            <p:cNvSpPr txBox="1"/>
            <p:nvPr/>
          </p:nvSpPr>
          <p:spPr>
            <a:xfrm>
              <a:off x="438439" y="40665"/>
              <a:ext cx="6708648" cy="246221"/>
            </a:xfrm>
            <a:prstGeom prst="rect">
              <a:avLst/>
            </a:prstGeom>
            <a:noFill/>
          </p:spPr>
          <p:txBody>
            <a:bodyPr wrap="square">
              <a:spAutoFit/>
            </a:bodyPr>
            <a:lstStyle/>
            <a:p>
              <a:pPr algn="ctr"/>
              <a:r>
                <a:rPr lang="el-GR" sz="1000" b="1"/>
                <a:t>Φωτοβολταϊκά: Εγκατεστημένη ισχύς &amp; Παραγόμενη ηλεκτρική ενέργεια</a:t>
              </a:r>
              <a:endParaRPr lang="en-US" sz="1000">
                <a:solidFill>
                  <a:schemeClr val="tx1">
                    <a:lumMod val="65000"/>
                    <a:lumOff val="35000"/>
                  </a:schemeClr>
                </a:solidFill>
                <a:latin typeface="Verdana" panose="020B0604030504040204" pitchFamily="34" charset="0"/>
                <a:ea typeface="Verdana" panose="020B0604030504040204" pitchFamily="34" charset="0"/>
              </a:endParaRPr>
            </a:p>
          </p:txBody>
        </p:sp>
      </p:grpSp>
      <p:grpSp>
        <p:nvGrpSpPr>
          <p:cNvPr id="14" name="Group 13">
            <a:extLst>
              <a:ext uri="{FF2B5EF4-FFF2-40B4-BE49-F238E27FC236}">
                <a16:creationId xmlns:a16="http://schemas.microsoft.com/office/drawing/2014/main" id="{56B42C5E-62C0-D584-01A3-1EBEBA5CB095}"/>
              </a:ext>
            </a:extLst>
          </p:cNvPr>
          <p:cNvGrpSpPr/>
          <p:nvPr/>
        </p:nvGrpSpPr>
        <p:grpSpPr>
          <a:xfrm>
            <a:off x="461638" y="2828423"/>
            <a:ext cx="6267613" cy="1040618"/>
            <a:chOff x="667490" y="1674325"/>
            <a:chExt cx="6267613" cy="1040618"/>
          </a:xfrm>
        </p:grpSpPr>
        <p:grpSp>
          <p:nvGrpSpPr>
            <p:cNvPr id="40" name="Group 39">
              <a:extLst>
                <a:ext uri="{FF2B5EF4-FFF2-40B4-BE49-F238E27FC236}">
                  <a16:creationId xmlns:a16="http://schemas.microsoft.com/office/drawing/2014/main" id="{30BD8CD0-26B3-41FE-CD11-7E3ECBCF9DA9}"/>
                </a:ext>
              </a:extLst>
            </p:cNvPr>
            <p:cNvGrpSpPr/>
            <p:nvPr/>
          </p:nvGrpSpPr>
          <p:grpSpPr>
            <a:xfrm>
              <a:off x="981308" y="1800543"/>
              <a:ext cx="5722205" cy="914400"/>
              <a:chOff x="981308" y="1566524"/>
              <a:chExt cx="5722205" cy="914400"/>
            </a:xfrm>
          </p:grpSpPr>
          <p:sp>
            <p:nvSpPr>
              <p:cNvPr id="42" name="Rectangle 41">
                <a:extLst>
                  <a:ext uri="{FF2B5EF4-FFF2-40B4-BE49-F238E27FC236}">
                    <a16:creationId xmlns:a16="http://schemas.microsoft.com/office/drawing/2014/main" id="{7447BA80-F33B-73BE-4790-561233D3C007}"/>
                  </a:ext>
                </a:extLst>
              </p:cNvPr>
              <p:cNvSpPr/>
              <p:nvPr/>
            </p:nvSpPr>
            <p:spPr>
              <a:xfrm>
                <a:off x="981308" y="1765769"/>
                <a:ext cx="5622910" cy="553999"/>
              </a:xfrm>
              <a:prstGeom prst="rect">
                <a:avLst/>
              </a:prstGeom>
              <a:solidFill>
                <a:srgbClr val="26890D">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Verdana" panose="020B0604030504040204" pitchFamily="34" charset="0"/>
                  <a:ea typeface="Verdana" panose="020B0604030504040204" pitchFamily="34" charset="0"/>
                </a:endParaRPr>
              </a:p>
            </p:txBody>
          </p:sp>
          <p:pic>
            <p:nvPicPr>
              <p:cNvPr id="43" name="Graphic 42" descr="Wind Turbines with solid fill">
                <a:extLst>
                  <a:ext uri="{FF2B5EF4-FFF2-40B4-BE49-F238E27FC236}">
                    <a16:creationId xmlns:a16="http://schemas.microsoft.com/office/drawing/2014/main" id="{03DA7C18-FDA5-1336-D4B1-A946F66AAC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01400" y="1566524"/>
                <a:ext cx="914400" cy="914400"/>
              </a:xfrm>
              <a:prstGeom prst="rect">
                <a:avLst/>
              </a:prstGeom>
            </p:spPr>
          </p:pic>
          <p:sp>
            <p:nvSpPr>
              <p:cNvPr id="44" name="TextBox 43">
                <a:extLst>
                  <a:ext uri="{FF2B5EF4-FFF2-40B4-BE49-F238E27FC236}">
                    <a16:creationId xmlns:a16="http://schemas.microsoft.com/office/drawing/2014/main" id="{EAA25277-1CEB-9EC1-D9BA-CF138C8135C5}"/>
                  </a:ext>
                </a:extLst>
              </p:cNvPr>
              <p:cNvSpPr txBox="1"/>
              <p:nvPr/>
            </p:nvSpPr>
            <p:spPr>
              <a:xfrm>
                <a:off x="2251460" y="1765770"/>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7.2</a:t>
                </a:r>
              </a:p>
              <a:p>
                <a:pPr algn="ctr"/>
                <a:r>
                  <a:rPr lang="en-US" sz="1050">
                    <a:latin typeface="Verdana" panose="020B0604030504040204" pitchFamily="34" charset="0"/>
                    <a:ea typeface="Verdana" panose="020B0604030504040204" pitchFamily="34" charset="0"/>
                  </a:rPr>
                  <a:t>TWh</a:t>
                </a:r>
              </a:p>
            </p:txBody>
          </p:sp>
          <p:sp>
            <p:nvSpPr>
              <p:cNvPr id="45" name="TextBox 44">
                <a:extLst>
                  <a:ext uri="{FF2B5EF4-FFF2-40B4-BE49-F238E27FC236}">
                    <a16:creationId xmlns:a16="http://schemas.microsoft.com/office/drawing/2014/main" id="{7F21D993-3380-FB5A-6DA6-756A58AF1F9A}"/>
                  </a:ext>
                </a:extLst>
              </p:cNvPr>
              <p:cNvSpPr txBox="1"/>
              <p:nvPr/>
            </p:nvSpPr>
            <p:spPr>
              <a:xfrm>
                <a:off x="981308" y="1796678"/>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7</a:t>
                </a:r>
              </a:p>
              <a:p>
                <a:pPr algn="ctr"/>
                <a:r>
                  <a:rPr lang="en-US" sz="1050">
                    <a:latin typeface="Verdana" panose="020B0604030504040204" pitchFamily="34" charset="0"/>
                    <a:ea typeface="Verdana" panose="020B0604030504040204" pitchFamily="34" charset="0"/>
                  </a:rPr>
                  <a:t>GW</a:t>
                </a:r>
              </a:p>
            </p:txBody>
          </p:sp>
          <p:sp>
            <p:nvSpPr>
              <p:cNvPr id="46" name="TextBox 45">
                <a:extLst>
                  <a:ext uri="{FF2B5EF4-FFF2-40B4-BE49-F238E27FC236}">
                    <a16:creationId xmlns:a16="http://schemas.microsoft.com/office/drawing/2014/main" id="{D869AAC7-2D5C-E26C-02EE-744D51DB12EF}"/>
                  </a:ext>
                </a:extLst>
              </p:cNvPr>
              <p:cNvSpPr txBox="1"/>
              <p:nvPr/>
            </p:nvSpPr>
            <p:spPr>
              <a:xfrm>
                <a:off x="5775397" y="1765770"/>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21.4</a:t>
                </a:r>
              </a:p>
              <a:p>
                <a:pPr algn="ctr"/>
                <a:r>
                  <a:rPr lang="en-US" sz="1050">
                    <a:latin typeface="Verdana" panose="020B0604030504040204" pitchFamily="34" charset="0"/>
                    <a:ea typeface="Verdana" panose="020B0604030504040204" pitchFamily="34" charset="0"/>
                  </a:rPr>
                  <a:t>TWh</a:t>
                </a:r>
              </a:p>
            </p:txBody>
          </p:sp>
          <p:sp>
            <p:nvSpPr>
              <p:cNvPr id="47" name="TextBox 46">
                <a:extLst>
                  <a:ext uri="{FF2B5EF4-FFF2-40B4-BE49-F238E27FC236}">
                    <a16:creationId xmlns:a16="http://schemas.microsoft.com/office/drawing/2014/main" id="{FADF5158-1BB2-4FE7-160A-8549A04C180F}"/>
                  </a:ext>
                </a:extLst>
              </p:cNvPr>
              <p:cNvSpPr txBox="1"/>
              <p:nvPr/>
            </p:nvSpPr>
            <p:spPr>
              <a:xfrm>
                <a:off x="4628019" y="1765770"/>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0.8</a:t>
                </a:r>
              </a:p>
              <a:p>
                <a:pPr algn="ctr"/>
                <a:r>
                  <a:rPr lang="en-US" sz="1050">
                    <a:latin typeface="Verdana" panose="020B0604030504040204" pitchFamily="34" charset="0"/>
                    <a:ea typeface="Verdana" panose="020B0604030504040204" pitchFamily="34" charset="0"/>
                  </a:rPr>
                  <a:t>GW</a:t>
                </a:r>
              </a:p>
            </p:txBody>
          </p:sp>
          <p:sp>
            <p:nvSpPr>
              <p:cNvPr id="48" name="TextBox 47">
                <a:extLst>
                  <a:ext uri="{FF2B5EF4-FFF2-40B4-BE49-F238E27FC236}">
                    <a16:creationId xmlns:a16="http://schemas.microsoft.com/office/drawing/2014/main" id="{69EA2774-228B-E3A0-69E7-BE46D4BF62BD}"/>
                  </a:ext>
                </a:extLst>
              </p:cNvPr>
              <p:cNvSpPr txBox="1"/>
              <p:nvPr/>
            </p:nvSpPr>
            <p:spPr>
              <a:xfrm>
                <a:off x="5537652" y="1919918"/>
                <a:ext cx="548099"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24%</a:t>
                </a:r>
              </a:p>
            </p:txBody>
          </p:sp>
          <p:sp>
            <p:nvSpPr>
              <p:cNvPr id="49" name="TextBox 48">
                <a:extLst>
                  <a:ext uri="{FF2B5EF4-FFF2-40B4-BE49-F238E27FC236}">
                    <a16:creationId xmlns:a16="http://schemas.microsoft.com/office/drawing/2014/main" id="{225BE093-85C8-D99D-18A4-D4C10F2B8033}"/>
                  </a:ext>
                </a:extLst>
              </p:cNvPr>
              <p:cNvSpPr txBox="1"/>
              <p:nvPr/>
            </p:nvSpPr>
            <p:spPr>
              <a:xfrm>
                <a:off x="4262994" y="1919918"/>
                <a:ext cx="523067"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54%</a:t>
                </a:r>
              </a:p>
            </p:txBody>
          </p:sp>
        </p:grpSp>
        <p:sp>
          <p:nvSpPr>
            <p:cNvPr id="41" name="TextBox 40">
              <a:extLst>
                <a:ext uri="{FF2B5EF4-FFF2-40B4-BE49-F238E27FC236}">
                  <a16:creationId xmlns:a16="http://schemas.microsoft.com/office/drawing/2014/main" id="{B5C3BE70-A16A-C5B9-B244-1C3CE38691E3}"/>
                </a:ext>
              </a:extLst>
            </p:cNvPr>
            <p:cNvSpPr txBox="1"/>
            <p:nvPr/>
          </p:nvSpPr>
          <p:spPr>
            <a:xfrm>
              <a:off x="667490" y="1674325"/>
              <a:ext cx="6267613" cy="246221"/>
            </a:xfrm>
            <a:prstGeom prst="rect">
              <a:avLst/>
            </a:prstGeom>
            <a:noFill/>
          </p:spPr>
          <p:txBody>
            <a:bodyPr wrap="square">
              <a:spAutoFit/>
            </a:bodyPr>
            <a:lstStyle/>
            <a:p>
              <a:pPr algn="ctr"/>
              <a:r>
                <a:rPr lang="el-GR" sz="1000" b="1"/>
                <a:t>Αιολικά(χερσαία &amp; υπεράκτια): Εγκατεστημένη ισχύς &amp; Παραγόμενη ηλεκτρική ενέργεια</a:t>
              </a:r>
              <a:endParaRPr lang="en-US" sz="1000" b="1"/>
            </a:p>
          </p:txBody>
        </p:sp>
      </p:grpSp>
      <p:grpSp>
        <p:nvGrpSpPr>
          <p:cNvPr id="15" name="Group 14">
            <a:extLst>
              <a:ext uri="{FF2B5EF4-FFF2-40B4-BE49-F238E27FC236}">
                <a16:creationId xmlns:a16="http://schemas.microsoft.com/office/drawing/2014/main" id="{4250FB79-6268-292B-D746-8385A9ECB944}"/>
              </a:ext>
            </a:extLst>
          </p:cNvPr>
          <p:cNvGrpSpPr/>
          <p:nvPr/>
        </p:nvGrpSpPr>
        <p:grpSpPr>
          <a:xfrm>
            <a:off x="162808" y="4944136"/>
            <a:ext cx="6708648" cy="1520672"/>
            <a:chOff x="5483352" y="4463853"/>
            <a:chExt cx="6708648" cy="1520672"/>
          </a:xfrm>
        </p:grpSpPr>
        <p:grpSp>
          <p:nvGrpSpPr>
            <p:cNvPr id="33" name="Group 32">
              <a:extLst>
                <a:ext uri="{FF2B5EF4-FFF2-40B4-BE49-F238E27FC236}">
                  <a16:creationId xmlns:a16="http://schemas.microsoft.com/office/drawing/2014/main" id="{528F8CE6-8D98-E8C4-7360-08185BBC22E0}"/>
                </a:ext>
              </a:extLst>
            </p:cNvPr>
            <p:cNvGrpSpPr/>
            <p:nvPr/>
          </p:nvGrpSpPr>
          <p:grpSpPr>
            <a:xfrm>
              <a:off x="6096000" y="4613452"/>
              <a:ext cx="5622910" cy="1371073"/>
              <a:chOff x="6096000" y="4238548"/>
              <a:chExt cx="5622910" cy="1371073"/>
            </a:xfrm>
          </p:grpSpPr>
          <p:sp>
            <p:nvSpPr>
              <p:cNvPr id="36" name="Rectangle 35">
                <a:extLst>
                  <a:ext uri="{FF2B5EF4-FFF2-40B4-BE49-F238E27FC236}">
                    <a16:creationId xmlns:a16="http://schemas.microsoft.com/office/drawing/2014/main" id="{2ED87A3F-C2AC-C4F4-B07E-2BCE3A90784E}"/>
                  </a:ext>
                </a:extLst>
              </p:cNvPr>
              <p:cNvSpPr/>
              <p:nvPr/>
            </p:nvSpPr>
            <p:spPr>
              <a:xfrm>
                <a:off x="6096000" y="4341456"/>
                <a:ext cx="5622910" cy="553999"/>
              </a:xfrm>
              <a:prstGeom prst="rect">
                <a:avLst/>
              </a:prstGeom>
              <a:solidFill>
                <a:srgbClr val="0D8390">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Verdana" panose="020B0604030504040204" pitchFamily="34" charset="0"/>
                  <a:ea typeface="Verdana" panose="020B0604030504040204" pitchFamily="34" charset="0"/>
                </a:endParaRPr>
              </a:p>
            </p:txBody>
          </p:sp>
          <p:sp>
            <p:nvSpPr>
              <p:cNvPr id="37" name="TextBox 36">
                <a:extLst>
                  <a:ext uri="{FF2B5EF4-FFF2-40B4-BE49-F238E27FC236}">
                    <a16:creationId xmlns:a16="http://schemas.microsoft.com/office/drawing/2014/main" id="{D73C90FB-0E34-41FC-BF2C-10441F6751A1}"/>
                  </a:ext>
                </a:extLst>
              </p:cNvPr>
              <p:cNvSpPr txBox="1"/>
              <p:nvPr/>
            </p:nvSpPr>
            <p:spPr>
              <a:xfrm>
                <a:off x="6748272" y="4368889"/>
                <a:ext cx="825084"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82.422</a:t>
                </a:r>
                <a:r>
                  <a:rPr lang="en-US" sz="1050">
                    <a:latin typeface="Verdana" panose="020B0604030504040204" pitchFamily="34" charset="0"/>
                    <a:ea typeface="Verdana" panose="020B0604030504040204" pitchFamily="34" charset="0"/>
                  </a:rPr>
                  <a:t>EVs</a:t>
                </a:r>
              </a:p>
            </p:txBody>
          </p:sp>
          <p:sp>
            <p:nvSpPr>
              <p:cNvPr id="38" name="TextBox 37">
                <a:extLst>
                  <a:ext uri="{FF2B5EF4-FFF2-40B4-BE49-F238E27FC236}">
                    <a16:creationId xmlns:a16="http://schemas.microsoft.com/office/drawing/2014/main" id="{600FC8A8-406D-3485-F163-5597106F2A28}"/>
                  </a:ext>
                </a:extLst>
              </p:cNvPr>
              <p:cNvSpPr txBox="1"/>
              <p:nvPr/>
            </p:nvSpPr>
            <p:spPr>
              <a:xfrm>
                <a:off x="10183967" y="4387177"/>
                <a:ext cx="941405"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08.304</a:t>
                </a:r>
              </a:p>
              <a:p>
                <a:pPr algn="ctr"/>
                <a:r>
                  <a:rPr lang="en-US" sz="1050">
                    <a:latin typeface="Verdana" panose="020B0604030504040204" pitchFamily="34" charset="0"/>
                    <a:ea typeface="Verdana" panose="020B0604030504040204" pitchFamily="34" charset="0"/>
                  </a:rPr>
                  <a:t>EVs</a:t>
                </a:r>
              </a:p>
            </p:txBody>
          </p:sp>
          <p:pic>
            <p:nvPicPr>
              <p:cNvPr id="39" name="Graphic 38" descr="Electric car with solid fill">
                <a:extLst>
                  <a:ext uri="{FF2B5EF4-FFF2-40B4-BE49-F238E27FC236}">
                    <a16:creationId xmlns:a16="http://schemas.microsoft.com/office/drawing/2014/main" id="{A5AE5958-9D10-CF7C-5FDD-1393B39A038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87756" y="4238548"/>
                <a:ext cx="1371073" cy="1371073"/>
              </a:xfrm>
              <a:prstGeom prst="rect">
                <a:avLst/>
              </a:prstGeom>
            </p:spPr>
          </p:pic>
        </p:grpSp>
        <p:sp>
          <p:nvSpPr>
            <p:cNvPr id="34" name="TextBox 33">
              <a:extLst>
                <a:ext uri="{FF2B5EF4-FFF2-40B4-BE49-F238E27FC236}">
                  <a16:creationId xmlns:a16="http://schemas.microsoft.com/office/drawing/2014/main" id="{635E191F-76F6-CD68-24E4-7C37109E1EE1}"/>
                </a:ext>
              </a:extLst>
            </p:cNvPr>
            <p:cNvSpPr txBox="1"/>
            <p:nvPr/>
          </p:nvSpPr>
          <p:spPr>
            <a:xfrm>
              <a:off x="9735753" y="4879392"/>
              <a:ext cx="567087"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31%</a:t>
              </a:r>
            </a:p>
          </p:txBody>
        </p:sp>
        <p:sp>
          <p:nvSpPr>
            <p:cNvPr id="35" name="TextBox 34">
              <a:extLst>
                <a:ext uri="{FF2B5EF4-FFF2-40B4-BE49-F238E27FC236}">
                  <a16:creationId xmlns:a16="http://schemas.microsoft.com/office/drawing/2014/main" id="{2D8256F7-780B-6119-1EB8-5AEC676E2B0C}"/>
                </a:ext>
              </a:extLst>
            </p:cNvPr>
            <p:cNvSpPr txBox="1"/>
            <p:nvPr/>
          </p:nvSpPr>
          <p:spPr>
            <a:xfrm>
              <a:off x="5483352" y="4463853"/>
              <a:ext cx="6708648" cy="246221"/>
            </a:xfrm>
            <a:prstGeom prst="rect">
              <a:avLst/>
            </a:prstGeom>
            <a:noFill/>
          </p:spPr>
          <p:txBody>
            <a:bodyPr wrap="square">
              <a:spAutoFit/>
            </a:bodyPr>
            <a:lstStyle/>
            <a:p>
              <a:pPr algn="ctr"/>
              <a:r>
                <a:rPr lang="el-GR" sz="1000" b="1"/>
                <a:t>Ηλεκτρικά οχήματα (</a:t>
              </a:r>
              <a:r>
                <a:rPr lang="en-US" sz="1000" b="1"/>
                <a:t>stock</a:t>
              </a:r>
              <a:r>
                <a:rPr lang="el-GR" sz="1000" b="1"/>
                <a:t> στην αγορά)</a:t>
              </a:r>
              <a:endParaRPr lang="en-US" sz="1000" b="1">
                <a:solidFill>
                  <a:schemeClr val="tx1">
                    <a:lumMod val="65000"/>
                    <a:lumOff val="35000"/>
                  </a:schemeClr>
                </a:solidFill>
                <a:latin typeface="Verdana" panose="020B0604030504040204" pitchFamily="34" charset="0"/>
                <a:ea typeface="Verdana" panose="020B0604030504040204" pitchFamily="34" charset="0"/>
              </a:endParaRPr>
            </a:p>
          </p:txBody>
        </p:sp>
      </p:grpSp>
      <p:grpSp>
        <p:nvGrpSpPr>
          <p:cNvPr id="16" name="Group 15">
            <a:extLst>
              <a:ext uri="{FF2B5EF4-FFF2-40B4-BE49-F238E27FC236}">
                <a16:creationId xmlns:a16="http://schemas.microsoft.com/office/drawing/2014/main" id="{7D311467-1F71-AC06-FEF4-7ED5F45AFF48}"/>
              </a:ext>
            </a:extLst>
          </p:cNvPr>
          <p:cNvGrpSpPr/>
          <p:nvPr/>
        </p:nvGrpSpPr>
        <p:grpSpPr>
          <a:xfrm>
            <a:off x="921354" y="1491753"/>
            <a:ext cx="5331687" cy="261610"/>
            <a:chOff x="6241898" y="727498"/>
            <a:chExt cx="5331687" cy="261610"/>
          </a:xfrm>
        </p:grpSpPr>
        <p:sp>
          <p:nvSpPr>
            <p:cNvPr id="30" name="TextBox 29">
              <a:extLst>
                <a:ext uri="{FF2B5EF4-FFF2-40B4-BE49-F238E27FC236}">
                  <a16:creationId xmlns:a16="http://schemas.microsoft.com/office/drawing/2014/main" id="{B096BE77-8D49-E351-7EBE-45E5E0628E64}"/>
                </a:ext>
              </a:extLst>
            </p:cNvPr>
            <p:cNvSpPr txBox="1"/>
            <p:nvPr/>
          </p:nvSpPr>
          <p:spPr>
            <a:xfrm>
              <a:off x="6241898" y="727498"/>
              <a:ext cx="1837832" cy="261610"/>
            </a:xfrm>
            <a:prstGeom prst="rect">
              <a:avLst/>
            </a:prstGeom>
            <a:noFill/>
          </p:spPr>
          <p:txBody>
            <a:bodyPr wrap="square">
              <a:spAutoFit/>
            </a:bodyPr>
            <a:lstStyle/>
            <a:p>
              <a:pPr algn="ctr"/>
              <a:r>
                <a:rPr lang="el-GR" sz="1050" b="1">
                  <a:solidFill>
                    <a:schemeClr val="bg2">
                      <a:lumMod val="50000"/>
                    </a:schemeClr>
                  </a:solidFill>
                  <a:latin typeface="Verdana" panose="020B0604030504040204" pitchFamily="34" charset="0"/>
                  <a:ea typeface="Verdana" panose="020B0604030504040204" pitchFamily="34" charset="0"/>
                </a:rPr>
                <a:t>ΕΣΕΚ</a:t>
              </a:r>
              <a:r>
                <a:rPr lang="en-US" sz="1050" b="1">
                  <a:solidFill>
                    <a:schemeClr val="bg2">
                      <a:lumMod val="50000"/>
                    </a:schemeClr>
                  </a:solidFill>
                  <a:latin typeface="Verdana" panose="020B0604030504040204" pitchFamily="34" charset="0"/>
                  <a:ea typeface="Verdana" panose="020B0604030504040204" pitchFamily="34" charset="0"/>
                </a:rPr>
                <a:t> 2019 </a:t>
              </a:r>
              <a:endParaRPr lang="en-US" sz="1050">
                <a:solidFill>
                  <a:schemeClr val="bg2">
                    <a:lumMod val="50000"/>
                  </a:schemeClr>
                </a:solidFill>
                <a:latin typeface="Verdana" panose="020B0604030504040204" pitchFamily="34" charset="0"/>
                <a:ea typeface="Verdana" panose="020B0604030504040204" pitchFamily="34" charset="0"/>
              </a:endParaRPr>
            </a:p>
          </p:txBody>
        </p:sp>
        <p:sp>
          <p:nvSpPr>
            <p:cNvPr id="31" name="TextBox 30">
              <a:extLst>
                <a:ext uri="{FF2B5EF4-FFF2-40B4-BE49-F238E27FC236}">
                  <a16:creationId xmlns:a16="http://schemas.microsoft.com/office/drawing/2014/main" id="{9941F180-1199-6345-1577-9DB9DB481977}"/>
                </a:ext>
              </a:extLst>
            </p:cNvPr>
            <p:cNvSpPr txBox="1"/>
            <p:nvPr/>
          </p:nvSpPr>
          <p:spPr>
            <a:xfrm>
              <a:off x="9735753" y="727498"/>
              <a:ext cx="1837832" cy="261610"/>
            </a:xfrm>
            <a:prstGeom prst="rect">
              <a:avLst/>
            </a:prstGeom>
            <a:noFill/>
          </p:spPr>
          <p:txBody>
            <a:bodyPr wrap="square">
              <a:spAutoFit/>
            </a:bodyPr>
            <a:lstStyle/>
            <a:p>
              <a:pPr algn="ctr"/>
              <a:r>
                <a:rPr lang="el-GR" sz="1050" b="1">
                  <a:solidFill>
                    <a:schemeClr val="bg2">
                      <a:lumMod val="50000"/>
                    </a:schemeClr>
                  </a:solidFill>
                  <a:latin typeface="Verdana" panose="020B0604030504040204" pitchFamily="34" charset="0"/>
                  <a:ea typeface="Verdana" panose="020B0604030504040204" pitchFamily="34" charset="0"/>
                </a:rPr>
                <a:t>ΕΣΕΚ</a:t>
              </a:r>
              <a:r>
                <a:rPr lang="en-US" sz="1050" b="1">
                  <a:solidFill>
                    <a:schemeClr val="bg2">
                      <a:lumMod val="50000"/>
                    </a:schemeClr>
                  </a:solidFill>
                  <a:latin typeface="Verdana" panose="020B0604030504040204" pitchFamily="34" charset="0"/>
                  <a:ea typeface="Verdana" panose="020B0604030504040204" pitchFamily="34" charset="0"/>
                </a:rPr>
                <a:t> 2024 </a:t>
              </a:r>
              <a:endParaRPr lang="en-US" sz="1050">
                <a:solidFill>
                  <a:schemeClr val="bg2">
                    <a:lumMod val="50000"/>
                  </a:schemeClr>
                </a:solidFill>
                <a:latin typeface="Verdana" panose="020B0604030504040204" pitchFamily="34" charset="0"/>
                <a:ea typeface="Verdana" panose="020B0604030504040204" pitchFamily="34" charset="0"/>
              </a:endParaRPr>
            </a:p>
          </p:txBody>
        </p:sp>
        <p:cxnSp>
          <p:nvCxnSpPr>
            <p:cNvPr id="32" name="Straight Connector 31">
              <a:extLst>
                <a:ext uri="{FF2B5EF4-FFF2-40B4-BE49-F238E27FC236}">
                  <a16:creationId xmlns:a16="http://schemas.microsoft.com/office/drawing/2014/main" id="{8736BD63-FD92-D0A5-AFF6-C5B9E1814D9A}"/>
                </a:ext>
              </a:extLst>
            </p:cNvPr>
            <p:cNvCxnSpPr>
              <a:cxnSpLocks/>
              <a:stCxn id="30" idx="3"/>
              <a:endCxn id="31" idx="1"/>
            </p:cNvCxnSpPr>
            <p:nvPr/>
          </p:nvCxnSpPr>
          <p:spPr>
            <a:xfrm>
              <a:off x="8079730" y="858303"/>
              <a:ext cx="1656023" cy="0"/>
            </a:xfrm>
            <a:prstGeom prst="line">
              <a:avLst/>
            </a:prstGeom>
            <a:ln>
              <a:solidFill>
                <a:srgbClr val="A6A6A6"/>
              </a:solidFill>
            </a:ln>
          </p:spPr>
          <p:style>
            <a:lnRef idx="3">
              <a:schemeClr val="dk1"/>
            </a:lnRef>
            <a:fillRef idx="0">
              <a:schemeClr val="dk1"/>
            </a:fillRef>
            <a:effectRef idx="2">
              <a:schemeClr val="dk1"/>
            </a:effectRef>
            <a:fontRef idx="minor">
              <a:schemeClr val="tx1"/>
            </a:fontRef>
          </p:style>
        </p:cxnSp>
      </p:grpSp>
      <p:grpSp>
        <p:nvGrpSpPr>
          <p:cNvPr id="17" name="Group 16">
            <a:extLst>
              <a:ext uri="{FF2B5EF4-FFF2-40B4-BE49-F238E27FC236}">
                <a16:creationId xmlns:a16="http://schemas.microsoft.com/office/drawing/2014/main" id="{7E95FB1A-F1C8-B183-71E6-A3BBBB84BBCD}"/>
              </a:ext>
            </a:extLst>
          </p:cNvPr>
          <p:cNvGrpSpPr/>
          <p:nvPr/>
        </p:nvGrpSpPr>
        <p:grpSpPr>
          <a:xfrm>
            <a:off x="162808" y="3873320"/>
            <a:ext cx="6708648" cy="1122275"/>
            <a:chOff x="368660" y="2753177"/>
            <a:chExt cx="6708648" cy="1122275"/>
          </a:xfrm>
        </p:grpSpPr>
        <p:sp>
          <p:nvSpPr>
            <p:cNvPr id="21" name="Rectangle 20">
              <a:extLst>
                <a:ext uri="{FF2B5EF4-FFF2-40B4-BE49-F238E27FC236}">
                  <a16:creationId xmlns:a16="http://schemas.microsoft.com/office/drawing/2014/main" id="{723699C9-E251-0200-A844-64B8046276C8}"/>
                </a:ext>
              </a:extLst>
            </p:cNvPr>
            <p:cNvSpPr/>
            <p:nvPr/>
          </p:nvSpPr>
          <p:spPr>
            <a:xfrm>
              <a:off x="981308" y="3147808"/>
              <a:ext cx="5622910" cy="553999"/>
            </a:xfrm>
            <a:prstGeom prst="rect">
              <a:avLst/>
            </a:prstGeom>
            <a:solidFill>
              <a:srgbClr val="E63A57">
                <a:alpha val="5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400">
                <a:latin typeface="Verdana" panose="020B0604030504040204" pitchFamily="34" charset="0"/>
                <a:ea typeface="Verdana" panose="020B0604030504040204" pitchFamily="34" charset="0"/>
              </a:endParaRPr>
            </a:p>
          </p:txBody>
        </p:sp>
        <p:sp>
          <p:nvSpPr>
            <p:cNvPr id="22" name="TextBox 21">
              <a:extLst>
                <a:ext uri="{FF2B5EF4-FFF2-40B4-BE49-F238E27FC236}">
                  <a16:creationId xmlns:a16="http://schemas.microsoft.com/office/drawing/2014/main" id="{151A8142-115E-A439-A0ED-91441D3D91A6}"/>
                </a:ext>
              </a:extLst>
            </p:cNvPr>
            <p:cNvSpPr txBox="1"/>
            <p:nvPr/>
          </p:nvSpPr>
          <p:spPr>
            <a:xfrm>
              <a:off x="2251460" y="3147809"/>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8.3</a:t>
              </a:r>
            </a:p>
            <a:p>
              <a:pPr algn="ctr"/>
              <a:r>
                <a:rPr lang="en-US" sz="1050">
                  <a:latin typeface="Verdana" panose="020B0604030504040204" pitchFamily="34" charset="0"/>
                  <a:ea typeface="Verdana" panose="020B0604030504040204" pitchFamily="34" charset="0"/>
                </a:rPr>
                <a:t>TWh</a:t>
              </a:r>
            </a:p>
          </p:txBody>
        </p:sp>
        <p:sp>
          <p:nvSpPr>
            <p:cNvPr id="23" name="TextBox 22">
              <a:extLst>
                <a:ext uri="{FF2B5EF4-FFF2-40B4-BE49-F238E27FC236}">
                  <a16:creationId xmlns:a16="http://schemas.microsoft.com/office/drawing/2014/main" id="{6F195E29-49E5-C849-099E-F0A515A799CF}"/>
                </a:ext>
              </a:extLst>
            </p:cNvPr>
            <p:cNvSpPr txBox="1"/>
            <p:nvPr/>
          </p:nvSpPr>
          <p:spPr>
            <a:xfrm>
              <a:off x="968968" y="3160581"/>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6.9</a:t>
              </a:r>
            </a:p>
            <a:p>
              <a:pPr algn="ctr"/>
              <a:r>
                <a:rPr lang="en-US" sz="1050">
                  <a:latin typeface="Verdana" panose="020B0604030504040204" pitchFamily="34" charset="0"/>
                  <a:ea typeface="Verdana" panose="020B0604030504040204" pitchFamily="34" charset="0"/>
                </a:rPr>
                <a:t>GW</a:t>
              </a:r>
            </a:p>
          </p:txBody>
        </p:sp>
        <p:sp>
          <p:nvSpPr>
            <p:cNvPr id="24" name="TextBox 23">
              <a:extLst>
                <a:ext uri="{FF2B5EF4-FFF2-40B4-BE49-F238E27FC236}">
                  <a16:creationId xmlns:a16="http://schemas.microsoft.com/office/drawing/2014/main" id="{5AD4729A-4488-4C7F-1DB5-7112635C7FC9}"/>
                </a:ext>
              </a:extLst>
            </p:cNvPr>
            <p:cNvSpPr txBox="1"/>
            <p:nvPr/>
          </p:nvSpPr>
          <p:spPr>
            <a:xfrm>
              <a:off x="5775397" y="3147809"/>
              <a:ext cx="928116"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10.9</a:t>
              </a:r>
            </a:p>
            <a:p>
              <a:pPr algn="ctr"/>
              <a:r>
                <a:rPr lang="en-US" sz="1050">
                  <a:latin typeface="Verdana" panose="020B0604030504040204" pitchFamily="34" charset="0"/>
                  <a:ea typeface="Verdana" panose="020B0604030504040204" pitchFamily="34" charset="0"/>
                </a:rPr>
                <a:t>TWh</a:t>
              </a:r>
            </a:p>
          </p:txBody>
        </p:sp>
        <p:sp>
          <p:nvSpPr>
            <p:cNvPr id="25" name="TextBox 24">
              <a:extLst>
                <a:ext uri="{FF2B5EF4-FFF2-40B4-BE49-F238E27FC236}">
                  <a16:creationId xmlns:a16="http://schemas.microsoft.com/office/drawing/2014/main" id="{CDDE0621-B1CD-037C-9B8B-022EF5B074A0}"/>
                </a:ext>
              </a:extLst>
            </p:cNvPr>
            <p:cNvSpPr txBox="1"/>
            <p:nvPr/>
          </p:nvSpPr>
          <p:spPr>
            <a:xfrm>
              <a:off x="4628019" y="3147809"/>
              <a:ext cx="617220" cy="477054"/>
            </a:xfrm>
            <a:prstGeom prst="rect">
              <a:avLst/>
            </a:prstGeom>
            <a:noFill/>
          </p:spPr>
          <p:txBody>
            <a:bodyPr wrap="square">
              <a:spAutoFit/>
            </a:bodyPr>
            <a:lstStyle/>
            <a:p>
              <a:pPr algn="ctr"/>
              <a:r>
                <a:rPr lang="en-US" sz="1400">
                  <a:latin typeface="Verdana" panose="020B0604030504040204" pitchFamily="34" charset="0"/>
                  <a:ea typeface="Verdana" panose="020B0604030504040204" pitchFamily="34" charset="0"/>
                </a:rPr>
                <a:t>7.9</a:t>
              </a:r>
            </a:p>
            <a:p>
              <a:pPr algn="ctr"/>
              <a:r>
                <a:rPr lang="en-US" sz="1050">
                  <a:latin typeface="Verdana" panose="020B0604030504040204" pitchFamily="34" charset="0"/>
                  <a:ea typeface="Verdana" panose="020B0604030504040204" pitchFamily="34" charset="0"/>
                </a:rPr>
                <a:t>GW</a:t>
              </a:r>
            </a:p>
          </p:txBody>
        </p:sp>
        <p:sp>
          <p:nvSpPr>
            <p:cNvPr id="26" name="TextBox 25">
              <a:extLst>
                <a:ext uri="{FF2B5EF4-FFF2-40B4-BE49-F238E27FC236}">
                  <a16:creationId xmlns:a16="http://schemas.microsoft.com/office/drawing/2014/main" id="{E34A4891-C1BC-859A-486C-1FCE24F6E254}"/>
                </a:ext>
              </a:extLst>
            </p:cNvPr>
            <p:cNvSpPr txBox="1"/>
            <p:nvPr/>
          </p:nvSpPr>
          <p:spPr>
            <a:xfrm>
              <a:off x="5610264" y="3301957"/>
              <a:ext cx="475488"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40%</a:t>
              </a:r>
            </a:p>
          </p:txBody>
        </p:sp>
        <p:sp>
          <p:nvSpPr>
            <p:cNvPr id="27" name="TextBox 26">
              <a:extLst>
                <a:ext uri="{FF2B5EF4-FFF2-40B4-BE49-F238E27FC236}">
                  <a16:creationId xmlns:a16="http://schemas.microsoft.com/office/drawing/2014/main" id="{5BAEC5E8-F9C4-512A-5D4A-DC3CD4CFDCD4}"/>
                </a:ext>
              </a:extLst>
            </p:cNvPr>
            <p:cNvSpPr txBox="1"/>
            <p:nvPr/>
          </p:nvSpPr>
          <p:spPr>
            <a:xfrm>
              <a:off x="4262994" y="3301957"/>
              <a:ext cx="523067" cy="215444"/>
            </a:xfrm>
            <a:prstGeom prst="rect">
              <a:avLst/>
            </a:prstGeom>
            <a:noFill/>
          </p:spPr>
          <p:txBody>
            <a:bodyPr wrap="square" rtlCol="0">
              <a:spAutoFit/>
            </a:bodyPr>
            <a:lstStyle/>
            <a:p>
              <a:r>
                <a:rPr lang="en-US" sz="800" i="1">
                  <a:latin typeface="Verdana" panose="020B0604030504040204" pitchFamily="34" charset="0"/>
                  <a:ea typeface="Verdana" panose="020B0604030504040204" pitchFamily="34" charset="0"/>
                </a:rPr>
                <a:t>+14%</a:t>
              </a:r>
            </a:p>
          </p:txBody>
        </p:sp>
        <p:sp>
          <p:nvSpPr>
            <p:cNvPr id="28" name="TextBox 27">
              <a:extLst>
                <a:ext uri="{FF2B5EF4-FFF2-40B4-BE49-F238E27FC236}">
                  <a16:creationId xmlns:a16="http://schemas.microsoft.com/office/drawing/2014/main" id="{B46B8249-FD19-3197-0CEA-B1975792FAA2}"/>
                </a:ext>
              </a:extLst>
            </p:cNvPr>
            <p:cNvSpPr txBox="1"/>
            <p:nvPr/>
          </p:nvSpPr>
          <p:spPr>
            <a:xfrm>
              <a:off x="368660" y="2753177"/>
              <a:ext cx="6708648" cy="246221"/>
            </a:xfrm>
            <a:prstGeom prst="rect">
              <a:avLst/>
            </a:prstGeom>
            <a:noFill/>
          </p:spPr>
          <p:txBody>
            <a:bodyPr wrap="square">
              <a:spAutoFit/>
            </a:bodyPr>
            <a:lstStyle/>
            <a:p>
              <a:pPr algn="ctr"/>
              <a:r>
                <a:rPr lang="el-GR" sz="1000" b="1"/>
                <a:t>Φυσικό αέριο: Εγκατεστημένη ισχύς &amp; Παραγόμενη ηλεκτρική ενέργεια</a:t>
              </a:r>
              <a:endParaRPr lang="en-US" sz="1000" b="1"/>
            </a:p>
          </p:txBody>
        </p:sp>
        <p:pic>
          <p:nvPicPr>
            <p:cNvPr id="29" name="Graphic 28" descr="Fire with solid fill">
              <a:extLst>
                <a:ext uri="{FF2B5EF4-FFF2-40B4-BE49-F238E27FC236}">
                  <a16:creationId xmlns:a16="http://schemas.microsoft.com/office/drawing/2014/main" id="{C214A02B-5A43-C024-4183-6E4217FCD7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65784" y="2961052"/>
              <a:ext cx="914400" cy="914400"/>
            </a:xfrm>
            <a:prstGeom prst="rect">
              <a:avLst/>
            </a:prstGeom>
          </p:spPr>
        </p:pic>
      </p:grpSp>
      <p:sp>
        <p:nvSpPr>
          <p:cNvPr id="18" name="TextBox 17">
            <a:extLst>
              <a:ext uri="{FF2B5EF4-FFF2-40B4-BE49-F238E27FC236}">
                <a16:creationId xmlns:a16="http://schemas.microsoft.com/office/drawing/2014/main" id="{F76819AE-745E-D42F-3B6D-5E21D6616D5C}"/>
              </a:ext>
            </a:extLst>
          </p:cNvPr>
          <p:cNvSpPr txBox="1"/>
          <p:nvPr/>
        </p:nvSpPr>
        <p:spPr>
          <a:xfrm>
            <a:off x="3333304" y="5915345"/>
            <a:ext cx="3158170" cy="215444"/>
          </a:xfrm>
          <a:prstGeom prst="rect">
            <a:avLst/>
          </a:prstGeom>
          <a:noFill/>
        </p:spPr>
        <p:txBody>
          <a:bodyPr wrap="square" rtlCol="0">
            <a:spAutoFit/>
          </a:bodyPr>
          <a:lstStyle/>
          <a:p>
            <a:pPr algn="r"/>
            <a:r>
              <a:rPr lang="en-US" sz="800">
                <a:latin typeface="Verdana" panose="020B0604030504040204" pitchFamily="34" charset="0"/>
                <a:ea typeface="Verdana" panose="020B0604030504040204" pitchFamily="34" charset="0"/>
              </a:rPr>
              <a:t>% change compared to the 2019 NECP</a:t>
            </a:r>
          </a:p>
        </p:txBody>
      </p:sp>
      <p:graphicFrame>
        <p:nvGraphicFramePr>
          <p:cNvPr id="19" name="Chart 18">
            <a:extLst>
              <a:ext uri="{FF2B5EF4-FFF2-40B4-BE49-F238E27FC236}">
                <a16:creationId xmlns:a16="http://schemas.microsoft.com/office/drawing/2014/main" id="{6492C62F-5D33-3BBA-4D12-D46DA8DF197F}"/>
              </a:ext>
            </a:extLst>
          </p:cNvPr>
          <p:cNvGraphicFramePr>
            <a:graphicFrameLocks/>
          </p:cNvGraphicFramePr>
          <p:nvPr>
            <p:extLst>
              <p:ext uri="{D42A27DB-BD31-4B8C-83A1-F6EECF244321}">
                <p14:modId xmlns:p14="http://schemas.microsoft.com/office/powerpoint/2010/main" val="14086011"/>
              </p:ext>
            </p:extLst>
          </p:nvPr>
        </p:nvGraphicFramePr>
        <p:xfrm>
          <a:off x="6928524" y="2003083"/>
          <a:ext cx="4588270" cy="1510691"/>
        </p:xfrm>
        <a:graphic>
          <a:graphicData uri="http://schemas.openxmlformats.org/drawingml/2006/chart">
            <c:chart xmlns:c="http://schemas.openxmlformats.org/drawingml/2006/chart" xmlns:r="http://schemas.openxmlformats.org/officeDocument/2006/relationships" r:id="rId11"/>
          </a:graphicData>
        </a:graphic>
      </p:graphicFrame>
      <p:sp>
        <p:nvSpPr>
          <p:cNvPr id="65" name="Slide Number Placeholder 4">
            <a:extLst>
              <a:ext uri="{FF2B5EF4-FFF2-40B4-BE49-F238E27FC236}">
                <a16:creationId xmlns:a16="http://schemas.microsoft.com/office/drawing/2014/main" id="{1B83092E-7385-3CCF-73F4-D4F730BF9A2C}"/>
              </a:ext>
            </a:extLst>
          </p:cNvPr>
          <p:cNvSpPr>
            <a:spLocks noGrp="1"/>
          </p:cNvSpPr>
          <p:nvPr>
            <p:ph type="sldNum" sz="quarter" idx="16"/>
          </p:nvPr>
        </p:nvSpPr>
        <p:spPr>
          <a:xfrm>
            <a:off x="443372" y="6258962"/>
            <a:ext cx="252000" cy="153888"/>
          </a:xfrm>
        </p:spPr>
        <p:txBody>
          <a:bodyPr/>
          <a:lstStyle/>
          <a:p>
            <a:fld id="{4531D9DC-ADF0-4D0A-8902-0133E3C6D94B}" type="slidenum">
              <a:rPr lang="en-US" smtClean="0"/>
              <a:pPr/>
              <a:t>15</a:t>
            </a:fld>
            <a:endParaRPr lang="en-US"/>
          </a:p>
        </p:txBody>
      </p:sp>
      <p:graphicFrame>
        <p:nvGraphicFramePr>
          <p:cNvPr id="66" name="Table 65">
            <a:extLst>
              <a:ext uri="{FF2B5EF4-FFF2-40B4-BE49-F238E27FC236}">
                <a16:creationId xmlns:a16="http://schemas.microsoft.com/office/drawing/2014/main" id="{09977009-BC21-9543-690A-7ECB47D7C286}"/>
              </a:ext>
            </a:extLst>
          </p:cNvPr>
          <p:cNvGraphicFramePr>
            <a:graphicFrameLocks noGrp="1"/>
          </p:cNvGraphicFramePr>
          <p:nvPr>
            <p:extLst>
              <p:ext uri="{D42A27DB-BD31-4B8C-83A1-F6EECF244321}">
                <p14:modId xmlns:p14="http://schemas.microsoft.com/office/powerpoint/2010/main" val="2111106621"/>
              </p:ext>
            </p:extLst>
          </p:nvPr>
        </p:nvGraphicFramePr>
        <p:xfrm>
          <a:off x="7063638" y="3919544"/>
          <a:ext cx="4456726" cy="1510691"/>
        </p:xfrm>
        <a:graphic>
          <a:graphicData uri="http://schemas.openxmlformats.org/drawingml/2006/table">
            <a:tbl>
              <a:tblPr/>
              <a:tblGrid>
                <a:gridCol w="2877772">
                  <a:extLst>
                    <a:ext uri="{9D8B030D-6E8A-4147-A177-3AD203B41FA5}">
                      <a16:colId xmlns:a16="http://schemas.microsoft.com/office/drawing/2014/main" val="3523475166"/>
                    </a:ext>
                  </a:extLst>
                </a:gridCol>
                <a:gridCol w="1578954">
                  <a:extLst>
                    <a:ext uri="{9D8B030D-6E8A-4147-A177-3AD203B41FA5}">
                      <a16:colId xmlns:a16="http://schemas.microsoft.com/office/drawing/2014/main" val="3253226218"/>
                    </a:ext>
                  </a:extLst>
                </a:gridCol>
              </a:tblGrid>
              <a:tr h="307693">
                <a:tc gridSpan="2">
                  <a:txBody>
                    <a:bodyPr/>
                    <a:lstStyle/>
                    <a:p>
                      <a:pPr algn="ctr" fontAlgn="base">
                        <a:lnSpc>
                          <a:spcPts val="825"/>
                        </a:lnSpc>
                        <a:buNone/>
                      </a:pPr>
                      <a:r>
                        <a:rPr lang="el-GR" sz="1000" b="1" i="0" u="none" strike="noStrike">
                          <a:solidFill>
                            <a:srgbClr val="FFFFFF"/>
                          </a:solidFill>
                          <a:effectLst/>
                          <a:latin typeface="Tahoma" panose="020B0604030504040204" pitchFamily="34" charset="0"/>
                        </a:rPr>
                        <a:t>Στόχοι ΕΣΕΚ για αποθήκευση</a:t>
                      </a:r>
                      <a:endParaRPr lang="en-US" sz="2800" b="1" i="0">
                        <a:solidFill>
                          <a:srgbClr val="061E3A"/>
                        </a:solidFill>
                        <a:effectLst/>
                      </a:endParaRPr>
                    </a:p>
                  </a:txBody>
                  <a:tcPr anchor="ctr">
                    <a:lnL w="6350" cap="flat" cmpd="sng" algn="ctr">
                      <a:solidFill>
                        <a:srgbClr val="838383"/>
                      </a:solidFill>
                      <a:prstDash val="solid"/>
                      <a:round/>
                      <a:headEnd type="none" w="med" len="med"/>
                      <a:tailEnd type="none" w="med" len="med"/>
                    </a:lnL>
                    <a:lnR w="6350" cap="flat" cmpd="sng" algn="ctr">
                      <a:solidFill>
                        <a:srgbClr val="838383"/>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solidFill>
                      <a:srgbClr val="808080"/>
                    </a:solidFill>
                  </a:tcPr>
                </a:tc>
                <a:tc hMerge="1">
                  <a:txBody>
                    <a:bodyPr/>
                    <a:lstStyle/>
                    <a:p>
                      <a:endParaRPr lang="en-US"/>
                    </a:p>
                  </a:txBody>
                  <a:tcPr/>
                </a:tc>
                <a:extLst>
                  <a:ext uri="{0D108BD9-81ED-4DB2-BD59-A6C34878D82A}">
                    <a16:rowId xmlns:a16="http://schemas.microsoft.com/office/drawing/2014/main" val="1728181074"/>
                  </a:ext>
                </a:extLst>
              </a:tr>
              <a:tr h="416195">
                <a:tc>
                  <a:txBody>
                    <a:bodyPr/>
                    <a:lstStyle/>
                    <a:p>
                      <a:pPr algn="l" fontAlgn="base">
                        <a:lnSpc>
                          <a:spcPts val="825"/>
                        </a:lnSpc>
                        <a:buNone/>
                      </a:pPr>
                      <a:r>
                        <a:rPr lang="el-GR" sz="700" b="1" i="0" u="none" strike="noStrike">
                          <a:solidFill>
                            <a:srgbClr val="3B3B3A"/>
                          </a:solidFill>
                          <a:effectLst/>
                          <a:latin typeface="Tahoma" panose="020B0604030504040204" pitchFamily="34" charset="0"/>
                        </a:rPr>
                        <a:t>Συνολική ισχύς των συστημάτων αποθήκευσης με συσσωρευτές</a:t>
                      </a:r>
                      <a:r>
                        <a:rPr lang="el-GR" sz="1800" b="1" i="0" u="none" strike="noStrike" kern="1200" baseline="0">
                          <a:solidFill>
                            <a:schemeClr val="tx1"/>
                          </a:solidFill>
                          <a:effectLst/>
                          <a:latin typeface="+mn-lt"/>
                          <a:ea typeface="+mn-ea"/>
                          <a:cs typeface="+mn-cs"/>
                        </a:rPr>
                        <a:t> </a:t>
                      </a:r>
                      <a:endParaRPr lang="en-US" b="1" i="0">
                        <a:solidFill>
                          <a:srgbClr val="061E3A"/>
                        </a:solidFill>
                        <a:effectLst/>
                      </a:endParaRPr>
                    </a:p>
                  </a:txBody>
                  <a:tcPr anchor="ctr">
                    <a:lnL w="6350" cap="flat" cmpd="sng" algn="ctr">
                      <a:solidFill>
                        <a:srgbClr val="838383"/>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tc>
                  <a:txBody>
                    <a:bodyPr/>
                    <a:lstStyle/>
                    <a:p>
                      <a:pPr algn="l" fontAlgn="base">
                        <a:lnSpc>
                          <a:spcPts val="825"/>
                        </a:lnSpc>
                        <a:buNone/>
                      </a:pPr>
                      <a:r>
                        <a:rPr lang="en-US" sz="700" b="0" i="0" u="none" strike="noStrike">
                          <a:solidFill>
                            <a:srgbClr val="3B3B3A"/>
                          </a:solidFill>
                          <a:effectLst/>
                          <a:latin typeface="Tahoma" panose="020B0604030504040204" pitchFamily="34" charset="0"/>
                        </a:rPr>
                        <a:t>up to 4.3 GW (BESS) by 2030</a:t>
                      </a:r>
                      <a:r>
                        <a:rPr lang="en-US" sz="700" b="0" i="0">
                          <a:solidFill>
                            <a:srgbClr val="061E3A"/>
                          </a:solidFill>
                          <a:effectLst/>
                          <a:latin typeface="Tahoma" panose="020B0604030504040204" pitchFamily="34" charset="0"/>
                        </a:rPr>
                        <a:t>​</a:t>
                      </a:r>
                      <a:endParaRPr lang="en-US" b="0" i="0">
                        <a:solidFill>
                          <a:srgbClr val="061E3A"/>
                        </a:solidFill>
                        <a:effectLst/>
                      </a:endParaRPr>
                    </a:p>
                  </a:txBody>
                  <a:tcPr anchor="ctr">
                    <a:lnL w="12700" cap="flat" cmpd="sng" algn="ctr">
                      <a:solidFill>
                        <a:srgbClr val="FFFFFF"/>
                      </a:solidFill>
                      <a:prstDash val="solid"/>
                      <a:round/>
                      <a:headEnd type="none" w="med" len="med"/>
                      <a:tailEnd type="none" w="med" len="med"/>
                    </a:lnL>
                    <a:lnR w="6350" cap="flat" cmpd="sng" algn="ctr">
                      <a:solidFill>
                        <a:srgbClr val="838383"/>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extLst>
                  <a:ext uri="{0D108BD9-81ED-4DB2-BD59-A6C34878D82A}">
                    <a16:rowId xmlns:a16="http://schemas.microsoft.com/office/drawing/2014/main" val="2208364326"/>
                  </a:ext>
                </a:extLst>
              </a:tr>
              <a:tr h="246154">
                <a:tc>
                  <a:txBody>
                    <a:bodyPr/>
                    <a:lstStyle/>
                    <a:p>
                      <a:pPr algn="l" fontAlgn="base">
                        <a:lnSpc>
                          <a:spcPts val="825"/>
                        </a:lnSpc>
                        <a:buNone/>
                      </a:pPr>
                      <a:r>
                        <a:rPr lang="el-GR" sz="700" b="1" i="0" u="none" strike="noStrike">
                          <a:solidFill>
                            <a:srgbClr val="3B3B3A"/>
                          </a:solidFill>
                          <a:effectLst/>
                          <a:latin typeface="Tahoma" panose="020B0604030504040204" pitchFamily="34" charset="0"/>
                        </a:rPr>
                        <a:t>Σχετικές Επενδύσεις</a:t>
                      </a:r>
                      <a:endParaRPr lang="en-US" b="1" i="0">
                        <a:solidFill>
                          <a:srgbClr val="061E3A"/>
                        </a:solidFill>
                        <a:effectLst/>
                      </a:endParaRPr>
                    </a:p>
                  </a:txBody>
                  <a:tcPr anchor="ctr">
                    <a:lnL w="6350" cap="flat" cmpd="sng" algn="ctr">
                      <a:solidFill>
                        <a:srgbClr val="838383"/>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tc>
                  <a:txBody>
                    <a:bodyPr/>
                    <a:lstStyle/>
                    <a:p>
                      <a:pPr algn="l" fontAlgn="base">
                        <a:lnSpc>
                          <a:spcPts val="825"/>
                        </a:lnSpc>
                        <a:buNone/>
                      </a:pPr>
                      <a:r>
                        <a:rPr lang="en-US" sz="700" b="0" i="0" u="none" strike="noStrike">
                          <a:solidFill>
                            <a:srgbClr val="3B3B3A"/>
                          </a:solidFill>
                          <a:effectLst/>
                          <a:latin typeface="Tahoma" panose="020B0604030504040204" pitchFamily="34" charset="0"/>
                        </a:rPr>
                        <a:t>EUR 7-10 bn</a:t>
                      </a:r>
                      <a:r>
                        <a:rPr lang="en-US" sz="700" b="0" i="0">
                          <a:solidFill>
                            <a:srgbClr val="061E3A"/>
                          </a:solidFill>
                          <a:effectLst/>
                          <a:latin typeface="Tahoma" panose="020B0604030504040204" pitchFamily="34" charset="0"/>
                        </a:rPr>
                        <a:t>​</a:t>
                      </a:r>
                      <a:endParaRPr lang="en-US" b="0" i="0">
                        <a:solidFill>
                          <a:srgbClr val="061E3A"/>
                        </a:solidFill>
                        <a:effectLst/>
                      </a:endParaRPr>
                    </a:p>
                  </a:txBody>
                  <a:tcPr anchor="ctr">
                    <a:lnL w="12700" cap="flat" cmpd="sng" algn="ctr">
                      <a:solidFill>
                        <a:srgbClr val="FFFFFF"/>
                      </a:solidFill>
                      <a:prstDash val="solid"/>
                      <a:round/>
                      <a:headEnd type="none" w="med" len="med"/>
                      <a:tailEnd type="none" w="med" len="med"/>
                    </a:lnL>
                    <a:lnR w="6350" cap="flat" cmpd="sng" algn="ctr">
                      <a:solidFill>
                        <a:srgbClr val="838383"/>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extLst>
                  <a:ext uri="{0D108BD9-81ED-4DB2-BD59-A6C34878D82A}">
                    <a16:rowId xmlns:a16="http://schemas.microsoft.com/office/drawing/2014/main" val="3550284568"/>
                  </a:ext>
                </a:extLst>
              </a:tr>
              <a:tr h="540649">
                <a:tc>
                  <a:txBody>
                    <a:bodyPr/>
                    <a:lstStyle/>
                    <a:p>
                      <a:pPr algn="l" fontAlgn="base">
                        <a:lnSpc>
                          <a:spcPts val="1350"/>
                        </a:lnSpc>
                        <a:buNone/>
                      </a:pPr>
                      <a:r>
                        <a:rPr lang="en-US" sz="700" b="1" i="0" u="none" strike="noStrike">
                          <a:solidFill>
                            <a:srgbClr val="3B3B3A"/>
                          </a:solidFill>
                          <a:effectLst/>
                          <a:latin typeface="Tahoma" panose="020B0604030504040204" pitchFamily="34" charset="0"/>
                        </a:rPr>
                        <a:t>Budget </a:t>
                      </a:r>
                      <a:r>
                        <a:rPr lang="el-GR" sz="700" b="1" i="0" u="none" strike="noStrike" err="1">
                          <a:solidFill>
                            <a:srgbClr val="3B3B3A"/>
                          </a:solidFill>
                          <a:effectLst/>
                          <a:latin typeface="Tahoma" panose="020B0604030504040204" pitchFamily="34" charset="0"/>
                        </a:rPr>
                        <a:t>απο</a:t>
                      </a:r>
                      <a:r>
                        <a:rPr lang="el-GR" sz="700" b="1" i="0" u="none" strike="noStrike">
                          <a:solidFill>
                            <a:srgbClr val="3B3B3A"/>
                          </a:solidFill>
                          <a:effectLst/>
                          <a:latin typeface="Tahoma" panose="020B0604030504040204" pitchFamily="34" charset="0"/>
                        </a:rPr>
                        <a:t> το </a:t>
                      </a:r>
                      <a:r>
                        <a:rPr lang="en-US" sz="700" b="1" i="0" u="none" strike="noStrike">
                          <a:solidFill>
                            <a:srgbClr val="3B3B3A"/>
                          </a:solidFill>
                          <a:effectLst/>
                          <a:latin typeface="Tahoma" panose="020B0604030504040204" pitchFamily="34" charset="0"/>
                        </a:rPr>
                        <a:t>RRF </a:t>
                      </a:r>
                      <a:r>
                        <a:rPr lang="el-GR" sz="700" b="1" i="0" u="none" strike="noStrike">
                          <a:solidFill>
                            <a:srgbClr val="3B3B3A"/>
                          </a:solidFill>
                          <a:effectLst/>
                          <a:latin typeface="Tahoma" panose="020B0604030504040204" pitchFamily="34" charset="0"/>
                        </a:rPr>
                        <a:t>για υποστήριξη μπαταριών </a:t>
                      </a:r>
                      <a:r>
                        <a:rPr lang="en-US" sz="700" b="1" i="0">
                          <a:solidFill>
                            <a:srgbClr val="061E3A"/>
                          </a:solidFill>
                          <a:effectLst/>
                          <a:latin typeface="Tahoma" panose="020B0604030504040204" pitchFamily="34" charset="0"/>
                        </a:rPr>
                        <a:t>​</a:t>
                      </a:r>
                      <a:endParaRPr lang="en-US" b="1" i="0">
                        <a:solidFill>
                          <a:srgbClr val="061E3A"/>
                        </a:solidFill>
                        <a:effectLst/>
                      </a:endParaRPr>
                    </a:p>
                  </a:txBody>
                  <a:tcPr anchor="ctr">
                    <a:lnL w="6350" cap="flat" cmpd="sng" algn="ctr">
                      <a:solidFill>
                        <a:srgbClr val="838383"/>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tc>
                  <a:txBody>
                    <a:bodyPr/>
                    <a:lstStyle/>
                    <a:p>
                      <a:pPr algn="l" fontAlgn="base">
                        <a:lnSpc>
                          <a:spcPts val="825"/>
                        </a:lnSpc>
                        <a:buNone/>
                      </a:pPr>
                      <a:r>
                        <a:rPr lang="en-US" sz="700" b="0" i="0" u="none" strike="noStrike">
                          <a:solidFill>
                            <a:srgbClr val="3B3B3A"/>
                          </a:solidFill>
                          <a:effectLst/>
                          <a:latin typeface="Tahoma" panose="020B0604030504040204" pitchFamily="34" charset="0"/>
                        </a:rPr>
                        <a:t>EUR 341 m</a:t>
                      </a:r>
                      <a:r>
                        <a:rPr lang="en-US" sz="700" b="0" i="0">
                          <a:solidFill>
                            <a:srgbClr val="061E3A"/>
                          </a:solidFill>
                          <a:effectLst/>
                          <a:latin typeface="Tahoma" panose="020B0604030504040204" pitchFamily="34" charset="0"/>
                        </a:rPr>
                        <a:t>​</a:t>
                      </a:r>
                      <a:endParaRPr lang="en-US" b="0" i="0">
                        <a:solidFill>
                          <a:srgbClr val="061E3A"/>
                        </a:solidFill>
                        <a:effectLst/>
                      </a:endParaRPr>
                    </a:p>
                  </a:txBody>
                  <a:tcPr anchor="ctr">
                    <a:lnL w="12700" cap="flat" cmpd="sng" algn="ctr">
                      <a:solidFill>
                        <a:srgbClr val="FFFFFF"/>
                      </a:solidFill>
                      <a:prstDash val="solid"/>
                      <a:round/>
                      <a:headEnd type="none" w="med" len="med"/>
                      <a:tailEnd type="none" w="med" len="med"/>
                    </a:lnL>
                    <a:lnR w="6350" cap="flat" cmpd="sng" algn="ctr">
                      <a:solidFill>
                        <a:srgbClr val="838383"/>
                      </a:solidFill>
                      <a:prstDash val="solid"/>
                      <a:round/>
                      <a:headEnd type="none" w="med" len="med"/>
                      <a:tailEnd type="none" w="med" len="med"/>
                    </a:lnR>
                    <a:lnT w="6350" cap="flat" cmpd="sng" algn="ctr">
                      <a:solidFill>
                        <a:srgbClr val="838383"/>
                      </a:solidFill>
                      <a:prstDash val="solid"/>
                      <a:round/>
                      <a:headEnd type="none" w="med" len="med"/>
                      <a:tailEnd type="none" w="med" len="med"/>
                    </a:lnT>
                    <a:lnB w="6350" cap="flat" cmpd="sng" algn="ctr">
                      <a:solidFill>
                        <a:srgbClr val="838383"/>
                      </a:solidFill>
                      <a:prstDash val="solid"/>
                      <a:round/>
                      <a:headEnd type="none" w="med" len="med"/>
                      <a:tailEnd type="none" w="med" len="med"/>
                    </a:lnB>
                    <a:noFill/>
                  </a:tcPr>
                </a:tc>
                <a:extLst>
                  <a:ext uri="{0D108BD9-81ED-4DB2-BD59-A6C34878D82A}">
                    <a16:rowId xmlns:a16="http://schemas.microsoft.com/office/drawing/2014/main" val="3110659855"/>
                  </a:ext>
                </a:extLst>
              </a:tr>
            </a:tbl>
          </a:graphicData>
        </a:graphic>
      </p:graphicFrame>
      <p:sp>
        <p:nvSpPr>
          <p:cNvPr id="2" name="TextBox 1">
            <a:extLst>
              <a:ext uri="{FF2B5EF4-FFF2-40B4-BE49-F238E27FC236}">
                <a16:creationId xmlns:a16="http://schemas.microsoft.com/office/drawing/2014/main" id="{EC868AB7-E601-A0E4-074B-AAEEA96D7C65}"/>
              </a:ext>
            </a:extLst>
          </p:cNvPr>
          <p:cNvSpPr txBox="1"/>
          <p:nvPr/>
        </p:nvSpPr>
        <p:spPr>
          <a:xfrm>
            <a:off x="7800685" y="65849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NECP updated Aug 2024</a:t>
            </a:r>
          </a:p>
        </p:txBody>
      </p:sp>
    </p:spTree>
    <p:extLst>
      <p:ext uri="{BB962C8B-B14F-4D97-AF65-F5344CB8AC3E}">
        <p14:creationId xmlns:p14="http://schemas.microsoft.com/office/powerpoint/2010/main" val="1072990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CDC4C-839E-03B1-6EC4-99C9011E959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6C2E17-7094-DC14-F8E7-88D66243DE5F}"/>
              </a:ext>
            </a:extLst>
          </p:cNvPr>
          <p:cNvSpPr>
            <a:spLocks noGrp="1"/>
          </p:cNvSpPr>
          <p:nvPr>
            <p:ph type="sldNum" sz="quarter" idx="16"/>
          </p:nvPr>
        </p:nvSpPr>
        <p:spPr/>
        <p:txBody>
          <a:bodyPr/>
          <a:lstStyle/>
          <a:p>
            <a:fld id="{4531D9DC-ADF0-4D0A-8902-0133E3C6D94B}" type="slidenum">
              <a:rPr lang="en-US" smtClean="0"/>
              <a:pPr/>
              <a:t>16</a:t>
            </a:fld>
            <a:endParaRPr lang="en-US"/>
          </a:p>
        </p:txBody>
      </p:sp>
      <p:sp>
        <p:nvSpPr>
          <p:cNvPr id="6" name="Title 5">
            <a:extLst>
              <a:ext uri="{FF2B5EF4-FFF2-40B4-BE49-F238E27FC236}">
                <a16:creationId xmlns:a16="http://schemas.microsoft.com/office/drawing/2014/main" id="{23D3D1E3-B6EE-4FD9-FA68-BEDDE15C4134}"/>
              </a:ext>
            </a:extLst>
          </p:cNvPr>
          <p:cNvSpPr>
            <a:spLocks noGrp="1"/>
          </p:cNvSpPr>
          <p:nvPr>
            <p:ph type="title"/>
          </p:nvPr>
        </p:nvSpPr>
        <p:spPr>
          <a:xfrm>
            <a:off x="443372" y="379660"/>
            <a:ext cx="11305716" cy="492443"/>
          </a:xfrm>
        </p:spPr>
        <p:txBody>
          <a:bodyPr/>
          <a:lstStyle/>
          <a:p>
            <a:r>
              <a:rPr lang="el-GR">
                <a:solidFill>
                  <a:srgbClr val="0F55F5"/>
                </a:solidFill>
              </a:rPr>
              <a:t>ΑΠΕ στο Ενεργειακό Μείγμα στην ΕΕ</a:t>
            </a:r>
            <a:endParaRPr lang="en-US">
              <a:solidFill>
                <a:srgbClr val="0F55F5"/>
              </a:solidFill>
            </a:endParaRPr>
          </a:p>
        </p:txBody>
      </p:sp>
      <p:sp>
        <p:nvSpPr>
          <p:cNvPr id="11" name="TextBox 10">
            <a:extLst>
              <a:ext uri="{FF2B5EF4-FFF2-40B4-BE49-F238E27FC236}">
                <a16:creationId xmlns:a16="http://schemas.microsoft.com/office/drawing/2014/main" id="{1578A6C4-B0E1-AE9A-60BF-67637725D23A}"/>
              </a:ext>
            </a:extLst>
          </p:cNvPr>
          <p:cNvSpPr txBox="1"/>
          <p:nvPr/>
        </p:nvSpPr>
        <p:spPr>
          <a:xfrm>
            <a:off x="191156" y="845413"/>
            <a:ext cx="5911467" cy="307777"/>
          </a:xfrm>
          <a:prstGeom prst="rect">
            <a:avLst/>
          </a:prstGeom>
          <a:noFill/>
        </p:spPr>
        <p:txBody>
          <a:bodyPr wrap="square">
            <a:spAutoFit/>
          </a:bodyPr>
          <a:lstStyle/>
          <a:p>
            <a:pPr algn="ctr"/>
            <a:r>
              <a:rPr lang="el-GR" sz="1400" spc="-11">
                <a:solidFill>
                  <a:srgbClr val="0F55F5"/>
                </a:solidFill>
              </a:rPr>
              <a:t>Ετήσια Διείσδυση ΑΠΕ στο Ενεργειακό Μείγμα στην ΕΕ (%</a:t>
            </a:r>
            <a:r>
              <a:rPr lang="en-US" sz="1400" spc="-11">
                <a:solidFill>
                  <a:srgbClr val="0F55F5"/>
                </a:solidFill>
              </a:rPr>
              <a:t>), [20</a:t>
            </a:r>
            <a:r>
              <a:rPr lang="el-GR" sz="1400" spc="-11">
                <a:solidFill>
                  <a:srgbClr val="0F55F5"/>
                </a:solidFill>
              </a:rPr>
              <a:t>13-2023</a:t>
            </a:r>
            <a:r>
              <a:rPr lang="en-US" sz="1400" spc="-11">
                <a:solidFill>
                  <a:srgbClr val="0F55F5"/>
                </a:solidFill>
              </a:rPr>
              <a:t>]</a:t>
            </a:r>
            <a:endParaRPr lang="en-US" sz="1600">
              <a:solidFill>
                <a:srgbClr val="0F55F5"/>
              </a:solidFill>
            </a:endParaRPr>
          </a:p>
        </p:txBody>
      </p:sp>
      <p:graphicFrame>
        <p:nvGraphicFramePr>
          <p:cNvPr id="2" name="Chart 1">
            <a:extLst>
              <a:ext uri="{FF2B5EF4-FFF2-40B4-BE49-F238E27FC236}">
                <a16:creationId xmlns:a16="http://schemas.microsoft.com/office/drawing/2014/main" id="{A1060372-D27E-B4BC-C9C0-ABC32BABD46F}"/>
              </a:ext>
            </a:extLst>
          </p:cNvPr>
          <p:cNvGraphicFramePr>
            <a:graphicFrameLocks/>
          </p:cNvGraphicFramePr>
          <p:nvPr>
            <p:extLst>
              <p:ext uri="{D42A27DB-BD31-4B8C-83A1-F6EECF244321}">
                <p14:modId xmlns:p14="http://schemas.microsoft.com/office/powerpoint/2010/main" val="1116353544"/>
              </p:ext>
            </p:extLst>
          </p:nvPr>
        </p:nvGraphicFramePr>
        <p:xfrm>
          <a:off x="443372" y="3689498"/>
          <a:ext cx="5652627" cy="26516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7F433D92-8B4A-14B0-13DB-1EFA3F1555D3}"/>
              </a:ext>
            </a:extLst>
          </p:cNvPr>
          <p:cNvGraphicFramePr>
            <a:graphicFrameLocks/>
          </p:cNvGraphicFramePr>
          <p:nvPr>
            <p:extLst>
              <p:ext uri="{D42A27DB-BD31-4B8C-83A1-F6EECF244321}">
                <p14:modId xmlns:p14="http://schemas.microsoft.com/office/powerpoint/2010/main" val="3365804188"/>
              </p:ext>
            </p:extLst>
          </p:nvPr>
        </p:nvGraphicFramePr>
        <p:xfrm>
          <a:off x="443372" y="1190846"/>
          <a:ext cx="5652628" cy="2224361"/>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3F2619C9-0E72-83A3-550B-1049E25F321B}"/>
              </a:ext>
            </a:extLst>
          </p:cNvPr>
          <p:cNvSpPr txBox="1"/>
          <p:nvPr/>
        </p:nvSpPr>
        <p:spPr>
          <a:xfrm>
            <a:off x="184532" y="3542227"/>
            <a:ext cx="5911467" cy="523220"/>
          </a:xfrm>
          <a:prstGeom prst="rect">
            <a:avLst/>
          </a:prstGeom>
          <a:noFill/>
        </p:spPr>
        <p:txBody>
          <a:bodyPr wrap="square">
            <a:spAutoFit/>
          </a:bodyPr>
          <a:lstStyle/>
          <a:p>
            <a:pPr algn="ctr"/>
            <a:r>
              <a:rPr lang="el-GR" sz="1400" spc="-11">
                <a:solidFill>
                  <a:srgbClr val="0F55F5"/>
                </a:solidFill>
              </a:rPr>
              <a:t>Διείσδυση ΑΠΕ στο Ενεργειακό Μείγμα ανά Κράτος-Μέλος στην ΕΕ (%</a:t>
            </a:r>
            <a:r>
              <a:rPr lang="en-US" sz="1400" spc="-11">
                <a:solidFill>
                  <a:srgbClr val="0F55F5"/>
                </a:solidFill>
              </a:rPr>
              <a:t>),</a:t>
            </a:r>
            <a:r>
              <a:rPr lang="el-GR" sz="1400" spc="-11">
                <a:solidFill>
                  <a:srgbClr val="0F55F5"/>
                </a:solidFill>
              </a:rPr>
              <a:t> [2023]</a:t>
            </a:r>
            <a:endParaRPr lang="en-US" sz="1400">
              <a:solidFill>
                <a:srgbClr val="0F55F5"/>
              </a:solidFill>
            </a:endParaRPr>
          </a:p>
        </p:txBody>
      </p:sp>
      <p:graphicFrame>
        <p:nvGraphicFramePr>
          <p:cNvPr id="3" name="Chart 2">
            <a:extLst>
              <a:ext uri="{FF2B5EF4-FFF2-40B4-BE49-F238E27FC236}">
                <a16:creationId xmlns:a16="http://schemas.microsoft.com/office/drawing/2014/main" id="{37794AC5-6432-AE84-8E47-BEA2AF2257A9}"/>
              </a:ext>
            </a:extLst>
          </p:cNvPr>
          <p:cNvGraphicFramePr>
            <a:graphicFrameLocks/>
          </p:cNvGraphicFramePr>
          <p:nvPr>
            <p:extLst>
              <p:ext uri="{D42A27DB-BD31-4B8C-83A1-F6EECF244321}">
                <p14:modId xmlns:p14="http://schemas.microsoft.com/office/powerpoint/2010/main" val="2868357138"/>
              </p:ext>
            </p:extLst>
          </p:nvPr>
        </p:nvGraphicFramePr>
        <p:xfrm>
          <a:off x="6102624" y="1456508"/>
          <a:ext cx="5898220" cy="4956342"/>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470F77D2-8B34-32BA-C604-B070496D16A8}"/>
              </a:ext>
            </a:extLst>
          </p:cNvPr>
          <p:cNvSpPr txBox="1"/>
          <p:nvPr/>
        </p:nvSpPr>
        <p:spPr>
          <a:xfrm>
            <a:off x="6237448" y="898423"/>
            <a:ext cx="5911467" cy="800219"/>
          </a:xfrm>
          <a:prstGeom prst="rect">
            <a:avLst/>
          </a:prstGeom>
          <a:noFill/>
        </p:spPr>
        <p:txBody>
          <a:bodyPr wrap="square">
            <a:spAutoFit/>
          </a:bodyPr>
          <a:lstStyle/>
          <a:p>
            <a:pPr algn="ctr"/>
            <a:r>
              <a:rPr lang="el-GR" sz="1400" spc="-11">
                <a:solidFill>
                  <a:srgbClr val="0F55F5"/>
                </a:solidFill>
              </a:rPr>
              <a:t>Διείσδυση Φ/Β και Αιολικών στο Ενεργειακό Μείγμα ανά Κράτος-Μέλος στην ΕΕ (%</a:t>
            </a:r>
            <a:r>
              <a:rPr lang="en-US" sz="1400" spc="-11">
                <a:solidFill>
                  <a:srgbClr val="0F55F5"/>
                </a:solidFill>
              </a:rPr>
              <a:t>),</a:t>
            </a:r>
            <a:r>
              <a:rPr lang="el-GR" sz="1400" spc="-11">
                <a:solidFill>
                  <a:srgbClr val="0F55F5"/>
                </a:solidFill>
              </a:rPr>
              <a:t> </a:t>
            </a:r>
            <a:r>
              <a:rPr lang="en-US" sz="1400" spc="-11">
                <a:solidFill>
                  <a:srgbClr val="0F55F5"/>
                </a:solidFill>
              </a:rPr>
              <a:t>[</a:t>
            </a:r>
            <a:r>
              <a:rPr lang="el-GR" sz="1400" spc="-11">
                <a:solidFill>
                  <a:srgbClr val="0F55F5"/>
                </a:solidFill>
              </a:rPr>
              <a:t>2024</a:t>
            </a:r>
            <a:r>
              <a:rPr lang="en-US" sz="1400" spc="-11">
                <a:solidFill>
                  <a:srgbClr val="0F55F5"/>
                </a:solidFill>
              </a:rPr>
              <a:t>]</a:t>
            </a:r>
            <a:endParaRPr lang="en-US" sz="1400">
              <a:solidFill>
                <a:srgbClr val="0F55F5"/>
              </a:solidFill>
            </a:endParaRPr>
          </a:p>
          <a:p>
            <a:pPr algn="ctr"/>
            <a:endParaRPr lang="en-US">
              <a:solidFill>
                <a:srgbClr val="0F55F5"/>
              </a:solidFill>
            </a:endParaRPr>
          </a:p>
        </p:txBody>
      </p:sp>
      <p:sp>
        <p:nvSpPr>
          <p:cNvPr id="10" name="Rectangle 9">
            <a:extLst>
              <a:ext uri="{FF2B5EF4-FFF2-40B4-BE49-F238E27FC236}">
                <a16:creationId xmlns:a16="http://schemas.microsoft.com/office/drawing/2014/main" id="{B98429A0-6F89-8A36-B911-965A6A2605A0}"/>
              </a:ext>
            </a:extLst>
          </p:cNvPr>
          <p:cNvSpPr/>
          <p:nvPr/>
        </p:nvSpPr>
        <p:spPr>
          <a:xfrm>
            <a:off x="7680960" y="3097530"/>
            <a:ext cx="217170" cy="2960370"/>
          </a:xfrm>
          <a:prstGeom prst="rect">
            <a:avLst/>
          </a:prstGeom>
          <a:noFill/>
          <a:ln w="285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4" name="TextBox 3">
            <a:extLst>
              <a:ext uri="{FF2B5EF4-FFF2-40B4-BE49-F238E27FC236}">
                <a16:creationId xmlns:a16="http://schemas.microsoft.com/office/drawing/2014/main" id="{D75204AB-D16A-A2D2-94A0-4AAF99AAB6BE}"/>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Eurostat</a:t>
            </a:r>
          </a:p>
        </p:txBody>
      </p:sp>
    </p:spTree>
    <p:extLst>
      <p:ext uri="{BB962C8B-B14F-4D97-AF65-F5344CB8AC3E}">
        <p14:creationId xmlns:p14="http://schemas.microsoft.com/office/powerpoint/2010/main" val="30941315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E75642-83E0-DBC2-AF95-FFC71F938F1B}"/>
            </a:ext>
          </a:extLst>
        </p:cNvPr>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968C753B-2E68-9AC9-5DBD-D9C900CA399E}"/>
              </a:ext>
            </a:extLst>
          </p:cNvPr>
          <p:cNvGraphicFramePr>
            <a:graphicFrameLocks/>
          </p:cNvGraphicFramePr>
          <p:nvPr>
            <p:extLst>
              <p:ext uri="{D42A27DB-BD31-4B8C-83A1-F6EECF244321}">
                <p14:modId xmlns:p14="http://schemas.microsoft.com/office/powerpoint/2010/main" val="725483760"/>
              </p:ext>
            </p:extLst>
          </p:nvPr>
        </p:nvGraphicFramePr>
        <p:xfrm>
          <a:off x="139700" y="615102"/>
          <a:ext cx="5819183" cy="2893460"/>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FBDD46A8-9EBE-80CA-811C-DD92EE2E3B35}"/>
              </a:ext>
            </a:extLst>
          </p:cNvPr>
          <p:cNvSpPr>
            <a:spLocks noGrp="1"/>
          </p:cNvSpPr>
          <p:nvPr>
            <p:ph type="sldNum" sz="quarter" idx="16"/>
          </p:nvPr>
        </p:nvSpPr>
        <p:spPr/>
        <p:txBody>
          <a:bodyPr/>
          <a:lstStyle/>
          <a:p>
            <a:fld id="{4531D9DC-ADF0-4D0A-8902-0133E3C6D94B}" type="slidenum">
              <a:rPr lang="en-US" smtClean="0"/>
              <a:pPr/>
              <a:t>17</a:t>
            </a:fld>
            <a:endParaRPr lang="en-US"/>
          </a:p>
        </p:txBody>
      </p:sp>
      <p:sp>
        <p:nvSpPr>
          <p:cNvPr id="6" name="Title 5">
            <a:extLst>
              <a:ext uri="{FF2B5EF4-FFF2-40B4-BE49-F238E27FC236}">
                <a16:creationId xmlns:a16="http://schemas.microsoft.com/office/drawing/2014/main" id="{6CEE4EA0-088D-BDAE-F57B-843B0496681D}"/>
              </a:ext>
            </a:extLst>
          </p:cNvPr>
          <p:cNvSpPr>
            <a:spLocks noGrp="1"/>
          </p:cNvSpPr>
          <p:nvPr>
            <p:ph type="title"/>
          </p:nvPr>
        </p:nvSpPr>
        <p:spPr>
          <a:xfrm>
            <a:off x="443372" y="379660"/>
            <a:ext cx="11305716" cy="492443"/>
          </a:xfrm>
        </p:spPr>
        <p:txBody>
          <a:bodyPr/>
          <a:lstStyle/>
          <a:p>
            <a:r>
              <a:rPr lang="el-GR">
                <a:solidFill>
                  <a:srgbClr val="0F55F5"/>
                </a:solidFill>
              </a:rPr>
              <a:t>Διείσδυση των ΑΠΕ</a:t>
            </a:r>
            <a:endParaRPr lang="en-US">
              <a:solidFill>
                <a:srgbClr val="0F55F5"/>
              </a:solidFill>
            </a:endParaRPr>
          </a:p>
        </p:txBody>
      </p:sp>
      <p:sp>
        <p:nvSpPr>
          <p:cNvPr id="11" name="TextBox 10">
            <a:extLst>
              <a:ext uri="{FF2B5EF4-FFF2-40B4-BE49-F238E27FC236}">
                <a16:creationId xmlns:a16="http://schemas.microsoft.com/office/drawing/2014/main" id="{629C580C-B3D5-DFA7-D918-43D4B7B55496}"/>
              </a:ext>
            </a:extLst>
          </p:cNvPr>
          <p:cNvSpPr txBox="1"/>
          <p:nvPr/>
        </p:nvSpPr>
        <p:spPr>
          <a:xfrm>
            <a:off x="442912" y="845413"/>
            <a:ext cx="5659711" cy="307777"/>
          </a:xfrm>
          <a:prstGeom prst="rect">
            <a:avLst/>
          </a:prstGeom>
          <a:noFill/>
        </p:spPr>
        <p:txBody>
          <a:bodyPr wrap="square">
            <a:spAutoFit/>
          </a:bodyPr>
          <a:lstStyle/>
          <a:p>
            <a:pPr algn="ctr"/>
            <a:r>
              <a:rPr lang="el-GR" sz="1400" spc="-11">
                <a:solidFill>
                  <a:srgbClr val="0F55F5"/>
                </a:solidFill>
              </a:rPr>
              <a:t>Διείσδυση των Φ/Β και των Αιολικών ανά Κράτος-Μέλος στην ΕΕ (%</a:t>
            </a:r>
            <a:r>
              <a:rPr lang="en-US" sz="1400" spc="-11">
                <a:solidFill>
                  <a:srgbClr val="0F55F5"/>
                </a:solidFill>
              </a:rPr>
              <a:t>), [2024]</a:t>
            </a:r>
          </a:p>
        </p:txBody>
      </p:sp>
      <p:sp>
        <p:nvSpPr>
          <p:cNvPr id="8" name="TextBox 7">
            <a:extLst>
              <a:ext uri="{FF2B5EF4-FFF2-40B4-BE49-F238E27FC236}">
                <a16:creationId xmlns:a16="http://schemas.microsoft.com/office/drawing/2014/main" id="{5C371433-1ED5-8599-1919-A575CA77C36A}"/>
              </a:ext>
            </a:extLst>
          </p:cNvPr>
          <p:cNvSpPr txBox="1"/>
          <p:nvPr/>
        </p:nvSpPr>
        <p:spPr>
          <a:xfrm>
            <a:off x="184532" y="3542227"/>
            <a:ext cx="5911467" cy="523220"/>
          </a:xfrm>
          <a:prstGeom prst="rect">
            <a:avLst/>
          </a:prstGeom>
          <a:noFill/>
        </p:spPr>
        <p:txBody>
          <a:bodyPr wrap="square">
            <a:spAutoFit/>
          </a:bodyPr>
          <a:lstStyle/>
          <a:p>
            <a:pPr algn="ctr"/>
            <a:r>
              <a:rPr lang="el-GR" sz="1400" spc="-11">
                <a:solidFill>
                  <a:srgbClr val="0F55F5"/>
                </a:solidFill>
              </a:rPr>
              <a:t>Ειδική Τιμή Αγοράς (ΕΤΑ) στην Ελλάδα για τεχνολογίες ΑΠΕ </a:t>
            </a:r>
            <a:r>
              <a:rPr lang="en-US" sz="1400" spc="-11">
                <a:solidFill>
                  <a:srgbClr val="0F55F5"/>
                </a:solidFill>
              </a:rPr>
              <a:t>(€/MWh), [2021-2024]</a:t>
            </a:r>
          </a:p>
        </p:txBody>
      </p:sp>
      <p:sp>
        <p:nvSpPr>
          <p:cNvPr id="4" name="TextBox 3">
            <a:extLst>
              <a:ext uri="{FF2B5EF4-FFF2-40B4-BE49-F238E27FC236}">
                <a16:creationId xmlns:a16="http://schemas.microsoft.com/office/drawing/2014/main" id="{C7AD0084-E173-9D87-4B55-A288B8C96048}"/>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Eurostat</a:t>
            </a:r>
          </a:p>
        </p:txBody>
      </p:sp>
      <p:graphicFrame>
        <p:nvGraphicFramePr>
          <p:cNvPr id="13" name="Chart 12">
            <a:extLst>
              <a:ext uri="{FF2B5EF4-FFF2-40B4-BE49-F238E27FC236}">
                <a16:creationId xmlns:a16="http://schemas.microsoft.com/office/drawing/2014/main" id="{D92ED898-8F8F-7CA1-B60F-5F2B3227EBE3}"/>
              </a:ext>
            </a:extLst>
          </p:cNvPr>
          <p:cNvGraphicFramePr>
            <a:graphicFrameLocks/>
          </p:cNvGraphicFramePr>
          <p:nvPr>
            <p:extLst>
              <p:ext uri="{D42A27DB-BD31-4B8C-83A1-F6EECF244321}">
                <p14:modId xmlns:p14="http://schemas.microsoft.com/office/powerpoint/2010/main" val="4043992831"/>
              </p:ext>
            </p:extLst>
          </p:nvPr>
        </p:nvGraphicFramePr>
        <p:xfrm>
          <a:off x="288502" y="3761607"/>
          <a:ext cx="5521005" cy="2612123"/>
        </p:xfrm>
        <a:graphic>
          <a:graphicData uri="http://schemas.openxmlformats.org/drawingml/2006/chart">
            <c:chart xmlns:c="http://schemas.openxmlformats.org/drawingml/2006/chart" xmlns:r="http://schemas.openxmlformats.org/officeDocument/2006/relationships" r:id="rId4"/>
          </a:graphicData>
        </a:graphic>
      </p:graphicFrame>
      <p:sp>
        <p:nvSpPr>
          <p:cNvPr id="15" name="Ορθογώνιο 4">
            <a:extLst>
              <a:ext uri="{FF2B5EF4-FFF2-40B4-BE49-F238E27FC236}">
                <a16:creationId xmlns:a16="http://schemas.microsoft.com/office/drawing/2014/main" id="{FAC1403B-DF95-37FE-ADD0-9E8E48D28667}"/>
              </a:ext>
            </a:extLst>
          </p:cNvPr>
          <p:cNvSpPr/>
          <p:nvPr/>
        </p:nvSpPr>
        <p:spPr>
          <a:xfrm>
            <a:off x="5894206" y="845413"/>
            <a:ext cx="5979403" cy="286232"/>
          </a:xfrm>
          <a:prstGeom prst="rect">
            <a:avLst/>
          </a:prstGeom>
        </p:spPr>
        <p:txBody>
          <a:bodyPr wrap="square">
            <a:spAutoFit/>
          </a:bodyPr>
          <a:lstStyle/>
          <a:p>
            <a:pPr marL="114300" algn="ctr">
              <a:lnSpc>
                <a:spcPct val="90000"/>
              </a:lnSpc>
              <a:spcBef>
                <a:spcPts val="585"/>
              </a:spcBef>
              <a:defRPr lang="en-US" sz="1000" b="0" i="0" u="none" strike="noStrike" kern="1200" spc="-15" baseline="0" dirty="0">
                <a:solidFill>
                  <a:srgbClr val="C6B709"/>
                </a:solidFill>
                <a:latin typeface="Verdana" panose="020B0604030504040204" pitchFamily="34" charset="0"/>
                <a:ea typeface="Verdana" panose="020B0604030504040204" pitchFamily="34" charset="0"/>
                <a:cs typeface="Verdana" panose="020B0604030504040204" pitchFamily="34" charset="0"/>
              </a:defRPr>
            </a:pPr>
            <a:r>
              <a:rPr lang="el-GR" sz="1400" spc="-11">
                <a:solidFill>
                  <a:srgbClr val="0F55F5"/>
                </a:solidFill>
                <a:latin typeface="The Wave Sans TT (Body)"/>
              </a:rPr>
              <a:t>Εγκατεστημένη Ισχύς Φ/Β και Αιολικών στην ΕΕ</a:t>
            </a:r>
            <a:r>
              <a:rPr lang="en-US" sz="1400" spc="-11">
                <a:solidFill>
                  <a:srgbClr val="0F55F5"/>
                </a:solidFill>
                <a:latin typeface="The Wave Sans TT (Body)"/>
              </a:rPr>
              <a:t> (MW), [2017-2024] </a:t>
            </a:r>
          </a:p>
        </p:txBody>
      </p:sp>
      <p:sp>
        <p:nvSpPr>
          <p:cNvPr id="17" name="Ορθογώνιο 4">
            <a:extLst>
              <a:ext uri="{FF2B5EF4-FFF2-40B4-BE49-F238E27FC236}">
                <a16:creationId xmlns:a16="http://schemas.microsoft.com/office/drawing/2014/main" id="{42B2067D-5AF8-9464-E7F8-D69EE2DC2A87}"/>
              </a:ext>
            </a:extLst>
          </p:cNvPr>
          <p:cNvSpPr/>
          <p:nvPr/>
        </p:nvSpPr>
        <p:spPr>
          <a:xfrm>
            <a:off x="5912341" y="3770465"/>
            <a:ext cx="6095127" cy="286232"/>
          </a:xfrm>
          <a:prstGeom prst="rect">
            <a:avLst/>
          </a:prstGeom>
        </p:spPr>
        <p:txBody>
          <a:bodyPr wrap="square">
            <a:spAutoFit/>
          </a:bodyPr>
          <a:lstStyle/>
          <a:p>
            <a:pPr marL="114300" algn="ctr">
              <a:lnSpc>
                <a:spcPct val="90000"/>
              </a:lnSpc>
              <a:spcBef>
                <a:spcPts val="585"/>
              </a:spcBef>
              <a:defRPr lang="en-US" sz="1000" b="0" i="0" u="none" strike="noStrike" kern="1200" spc="-15" baseline="0" dirty="0">
                <a:solidFill>
                  <a:srgbClr val="C6B709"/>
                </a:solidFill>
                <a:latin typeface="Verdana" panose="020B0604030504040204" pitchFamily="34" charset="0"/>
                <a:ea typeface="Verdana" panose="020B0604030504040204" pitchFamily="34" charset="0"/>
                <a:cs typeface="Verdana" panose="020B0604030504040204" pitchFamily="34" charset="0"/>
              </a:defRPr>
            </a:pPr>
            <a:r>
              <a:rPr lang="el-GR" sz="1400" spc="-11">
                <a:solidFill>
                  <a:srgbClr val="0F55F5"/>
                </a:solidFill>
                <a:latin typeface="The Wave Sans TT (Body)"/>
              </a:rPr>
              <a:t>Εγκατεστημένη Ισχύς Φ/Β και Αιολικών στην Ελλάδα</a:t>
            </a:r>
            <a:r>
              <a:rPr lang="en-US" sz="1400" spc="-11">
                <a:solidFill>
                  <a:srgbClr val="0F55F5"/>
                </a:solidFill>
                <a:latin typeface="The Wave Sans TT (Body)"/>
              </a:rPr>
              <a:t> (MW), [2017-2024] </a:t>
            </a:r>
          </a:p>
        </p:txBody>
      </p:sp>
      <p:graphicFrame>
        <p:nvGraphicFramePr>
          <p:cNvPr id="18" name="Chart 17">
            <a:extLst>
              <a:ext uri="{FF2B5EF4-FFF2-40B4-BE49-F238E27FC236}">
                <a16:creationId xmlns:a16="http://schemas.microsoft.com/office/drawing/2014/main" id="{78F27FF0-9ABB-C938-46A8-05E60464A5C4}"/>
              </a:ext>
            </a:extLst>
          </p:cNvPr>
          <p:cNvGraphicFramePr>
            <a:graphicFrameLocks/>
          </p:cNvGraphicFramePr>
          <p:nvPr>
            <p:extLst>
              <p:ext uri="{D42A27DB-BD31-4B8C-83A1-F6EECF244321}">
                <p14:modId xmlns:p14="http://schemas.microsoft.com/office/powerpoint/2010/main" val="2998508743"/>
              </p:ext>
            </p:extLst>
          </p:nvPr>
        </p:nvGraphicFramePr>
        <p:xfrm>
          <a:off x="6125102" y="1009361"/>
          <a:ext cx="5836600" cy="26095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42785E69-4A20-96A8-E156-37182DB0A5F2}"/>
              </a:ext>
            </a:extLst>
          </p:cNvPr>
          <p:cNvGraphicFramePr>
            <a:graphicFrameLocks/>
          </p:cNvGraphicFramePr>
          <p:nvPr>
            <p:extLst>
              <p:ext uri="{D42A27DB-BD31-4B8C-83A1-F6EECF244321}">
                <p14:modId xmlns:p14="http://schemas.microsoft.com/office/powerpoint/2010/main" val="164074348"/>
              </p:ext>
            </p:extLst>
          </p:nvPr>
        </p:nvGraphicFramePr>
        <p:xfrm>
          <a:off x="5965609" y="4123674"/>
          <a:ext cx="5979402" cy="238114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4510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6ED32-023D-025B-305A-FD4F6B96DB61}"/>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D5D31D-11FD-89C8-A440-17D202628E18}"/>
              </a:ext>
            </a:extLst>
          </p:cNvPr>
          <p:cNvSpPr>
            <a:spLocks noGrp="1"/>
          </p:cNvSpPr>
          <p:nvPr>
            <p:ph type="sldNum" sz="quarter" idx="16"/>
          </p:nvPr>
        </p:nvSpPr>
        <p:spPr/>
        <p:txBody>
          <a:bodyPr/>
          <a:lstStyle/>
          <a:p>
            <a:fld id="{4531D9DC-ADF0-4D0A-8902-0133E3C6D94B}" type="slidenum">
              <a:rPr lang="en-US" smtClean="0"/>
              <a:pPr/>
              <a:t>18</a:t>
            </a:fld>
            <a:endParaRPr lang="en-US"/>
          </a:p>
        </p:txBody>
      </p:sp>
      <p:sp>
        <p:nvSpPr>
          <p:cNvPr id="6" name="Title 5">
            <a:extLst>
              <a:ext uri="{FF2B5EF4-FFF2-40B4-BE49-F238E27FC236}">
                <a16:creationId xmlns:a16="http://schemas.microsoft.com/office/drawing/2014/main" id="{BA864DBF-6023-0A84-C5E4-A038BFD3456B}"/>
              </a:ext>
            </a:extLst>
          </p:cNvPr>
          <p:cNvSpPr>
            <a:spLocks noGrp="1"/>
          </p:cNvSpPr>
          <p:nvPr>
            <p:ph type="title"/>
          </p:nvPr>
        </p:nvSpPr>
        <p:spPr>
          <a:xfrm>
            <a:off x="443372" y="379660"/>
            <a:ext cx="11305716" cy="492443"/>
          </a:xfrm>
        </p:spPr>
        <p:txBody>
          <a:bodyPr/>
          <a:lstStyle/>
          <a:p>
            <a:r>
              <a:rPr lang="el-GR">
                <a:solidFill>
                  <a:srgbClr val="0F55F5"/>
                </a:solidFill>
              </a:rPr>
              <a:t>ΑΠΕ στο Ενεργειακό Μείγμα στην Ελλάδα</a:t>
            </a:r>
            <a:endParaRPr lang="en-US">
              <a:solidFill>
                <a:srgbClr val="0F55F5"/>
              </a:solidFill>
            </a:endParaRPr>
          </a:p>
        </p:txBody>
      </p:sp>
      <p:graphicFrame>
        <p:nvGraphicFramePr>
          <p:cNvPr id="10" name="Chart 9">
            <a:extLst>
              <a:ext uri="{FF2B5EF4-FFF2-40B4-BE49-F238E27FC236}">
                <a16:creationId xmlns:a16="http://schemas.microsoft.com/office/drawing/2014/main" id="{5DD5FC80-A216-D983-2467-2D8A3FCF1A1E}"/>
              </a:ext>
            </a:extLst>
          </p:cNvPr>
          <p:cNvGraphicFramePr>
            <a:graphicFrameLocks/>
          </p:cNvGraphicFramePr>
          <p:nvPr>
            <p:extLst>
              <p:ext uri="{D42A27DB-BD31-4B8C-83A1-F6EECF244321}">
                <p14:modId xmlns:p14="http://schemas.microsoft.com/office/powerpoint/2010/main" val="1551297588"/>
              </p:ext>
            </p:extLst>
          </p:nvPr>
        </p:nvGraphicFramePr>
        <p:xfrm>
          <a:off x="204953" y="1232340"/>
          <a:ext cx="5247580" cy="518050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0164F4EB-5BC0-CD0A-5A59-5FABAD9D6423}"/>
              </a:ext>
            </a:extLst>
          </p:cNvPr>
          <p:cNvSpPr txBox="1"/>
          <p:nvPr/>
        </p:nvSpPr>
        <p:spPr>
          <a:xfrm>
            <a:off x="1303608" y="1034004"/>
            <a:ext cx="3744460" cy="307777"/>
          </a:xfrm>
          <a:prstGeom prst="rect">
            <a:avLst/>
          </a:prstGeom>
          <a:noFill/>
        </p:spPr>
        <p:txBody>
          <a:bodyPr wrap="square">
            <a:spAutoFit/>
          </a:bodyPr>
          <a:lstStyle/>
          <a:p>
            <a:pPr algn="ctr"/>
            <a:r>
              <a:rPr lang="el-GR" sz="1400" spc="-11">
                <a:solidFill>
                  <a:srgbClr val="0F55F5"/>
                </a:solidFill>
              </a:rPr>
              <a:t>Μηνιαία Παραγωγή ΑΠΕ (</a:t>
            </a:r>
            <a:r>
              <a:rPr lang="en-US" sz="1400" spc="-11">
                <a:solidFill>
                  <a:srgbClr val="0F55F5"/>
                </a:solidFill>
              </a:rPr>
              <a:t>GWh), [2024]</a:t>
            </a:r>
            <a:endParaRPr lang="en-US" sz="1600">
              <a:solidFill>
                <a:srgbClr val="0F55F5"/>
              </a:solidFill>
            </a:endParaRPr>
          </a:p>
        </p:txBody>
      </p:sp>
      <p:sp>
        <p:nvSpPr>
          <p:cNvPr id="13" name="TextBox 12">
            <a:extLst>
              <a:ext uri="{FF2B5EF4-FFF2-40B4-BE49-F238E27FC236}">
                <a16:creationId xmlns:a16="http://schemas.microsoft.com/office/drawing/2014/main" id="{A052F66E-53B1-7555-8F8C-FF7EF74BC7A0}"/>
              </a:ext>
            </a:extLst>
          </p:cNvPr>
          <p:cNvSpPr txBox="1"/>
          <p:nvPr/>
        </p:nvSpPr>
        <p:spPr>
          <a:xfrm>
            <a:off x="6940874" y="926283"/>
            <a:ext cx="3744460" cy="523220"/>
          </a:xfrm>
          <a:prstGeom prst="rect">
            <a:avLst/>
          </a:prstGeom>
          <a:noFill/>
        </p:spPr>
        <p:txBody>
          <a:bodyPr wrap="square">
            <a:spAutoFit/>
          </a:bodyPr>
          <a:lstStyle/>
          <a:p>
            <a:pPr algn="ctr"/>
            <a:r>
              <a:rPr lang="el-GR" sz="1400" spc="-11">
                <a:solidFill>
                  <a:srgbClr val="0F55F5"/>
                </a:solidFill>
              </a:rPr>
              <a:t>Εγκατεστημένη ισχύς ΑΠΕ (</a:t>
            </a:r>
            <a:r>
              <a:rPr lang="en-US" sz="1400" spc="-11">
                <a:solidFill>
                  <a:srgbClr val="0F55F5"/>
                </a:solidFill>
              </a:rPr>
              <a:t>MW), </a:t>
            </a:r>
            <a:br>
              <a:rPr lang="en-US" sz="1400" spc="-11">
                <a:solidFill>
                  <a:srgbClr val="0F55F5"/>
                </a:solidFill>
              </a:rPr>
            </a:br>
            <a:r>
              <a:rPr lang="en-US" sz="1400" spc="-11">
                <a:solidFill>
                  <a:srgbClr val="0F55F5"/>
                </a:solidFill>
              </a:rPr>
              <a:t>[2018-2024]</a:t>
            </a:r>
            <a:endParaRPr lang="en-US" sz="1600">
              <a:solidFill>
                <a:srgbClr val="0F55F5"/>
              </a:solidFill>
            </a:endParaRPr>
          </a:p>
        </p:txBody>
      </p:sp>
      <p:graphicFrame>
        <p:nvGraphicFramePr>
          <p:cNvPr id="14" name="Chart 13">
            <a:extLst>
              <a:ext uri="{FF2B5EF4-FFF2-40B4-BE49-F238E27FC236}">
                <a16:creationId xmlns:a16="http://schemas.microsoft.com/office/drawing/2014/main" id="{9BDBD869-8C71-E6D8-EB90-F68331B1FBA0}"/>
              </a:ext>
            </a:extLst>
          </p:cNvPr>
          <p:cNvGraphicFramePr>
            <a:graphicFrameLocks/>
          </p:cNvGraphicFramePr>
          <p:nvPr>
            <p:extLst>
              <p:ext uri="{D42A27DB-BD31-4B8C-83A1-F6EECF244321}">
                <p14:modId xmlns:p14="http://schemas.microsoft.com/office/powerpoint/2010/main" val="3209539166"/>
              </p:ext>
            </p:extLst>
          </p:nvPr>
        </p:nvGraphicFramePr>
        <p:xfrm>
          <a:off x="5656303" y="1252031"/>
          <a:ext cx="5852171" cy="518051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3018F379-B016-C19D-6207-0E19EC86B4B5}"/>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DAPEEP, NECP</a:t>
            </a:r>
          </a:p>
        </p:txBody>
      </p:sp>
    </p:spTree>
    <p:extLst>
      <p:ext uri="{BB962C8B-B14F-4D97-AF65-F5344CB8AC3E}">
        <p14:creationId xmlns:p14="http://schemas.microsoft.com/office/powerpoint/2010/main" val="37920188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15B32-06C0-364F-90C3-3217C192459E}"/>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7E46673-1F90-7BCD-0694-E2A82CFCCE07}"/>
              </a:ext>
            </a:extLst>
          </p:cNvPr>
          <p:cNvSpPr>
            <a:spLocks noGrp="1"/>
          </p:cNvSpPr>
          <p:nvPr>
            <p:ph type="sldNum" sz="quarter" idx="16"/>
          </p:nvPr>
        </p:nvSpPr>
        <p:spPr/>
        <p:txBody>
          <a:bodyPr/>
          <a:lstStyle/>
          <a:p>
            <a:fld id="{4531D9DC-ADF0-4D0A-8902-0133E3C6D94B}" type="slidenum">
              <a:rPr lang="en-US" smtClean="0"/>
              <a:pPr/>
              <a:t>19</a:t>
            </a:fld>
            <a:endParaRPr lang="en-US"/>
          </a:p>
        </p:txBody>
      </p:sp>
      <p:sp>
        <p:nvSpPr>
          <p:cNvPr id="6" name="Title 5">
            <a:extLst>
              <a:ext uri="{FF2B5EF4-FFF2-40B4-BE49-F238E27FC236}">
                <a16:creationId xmlns:a16="http://schemas.microsoft.com/office/drawing/2014/main" id="{1D1734EE-BFD5-2849-15F6-5D01C1CA67ED}"/>
              </a:ext>
            </a:extLst>
          </p:cNvPr>
          <p:cNvSpPr>
            <a:spLocks noGrp="1"/>
          </p:cNvSpPr>
          <p:nvPr>
            <p:ph type="title"/>
          </p:nvPr>
        </p:nvSpPr>
        <p:spPr>
          <a:xfrm>
            <a:off x="443372" y="379660"/>
            <a:ext cx="11305716" cy="984885"/>
          </a:xfrm>
        </p:spPr>
        <p:txBody>
          <a:bodyPr/>
          <a:lstStyle/>
          <a:p>
            <a:r>
              <a:rPr lang="el-GR">
                <a:solidFill>
                  <a:schemeClr val="accent2"/>
                </a:solidFill>
              </a:rPr>
              <a:t>Ραγδαία ανάπτυξη της καθαρής ηλεκτροπαραγωγής, με κυριαρχία των </a:t>
            </a:r>
            <a:r>
              <a:rPr lang="el-GR" err="1">
                <a:solidFill>
                  <a:schemeClr val="accent2"/>
                </a:solidFill>
              </a:rPr>
              <a:t>φωτοβολταϊκών</a:t>
            </a:r>
            <a:r>
              <a:rPr lang="el-GR">
                <a:solidFill>
                  <a:schemeClr val="accent2"/>
                </a:solidFill>
              </a:rPr>
              <a:t> και αιολικών</a:t>
            </a:r>
            <a:endParaRPr lang="en-US">
              <a:solidFill>
                <a:schemeClr val="accent2"/>
              </a:solidFill>
            </a:endParaRPr>
          </a:p>
        </p:txBody>
      </p:sp>
      <p:sp>
        <p:nvSpPr>
          <p:cNvPr id="18" name="TextBox 17">
            <a:extLst>
              <a:ext uri="{FF2B5EF4-FFF2-40B4-BE49-F238E27FC236}">
                <a16:creationId xmlns:a16="http://schemas.microsoft.com/office/drawing/2014/main" id="{6C974764-963D-5905-BA5E-24DFA1183E21}"/>
              </a:ext>
            </a:extLst>
          </p:cNvPr>
          <p:cNvSpPr txBox="1"/>
          <p:nvPr/>
        </p:nvSpPr>
        <p:spPr>
          <a:xfrm>
            <a:off x="-565185" y="1542235"/>
            <a:ext cx="6661185" cy="523220"/>
          </a:xfrm>
          <a:prstGeom prst="rect">
            <a:avLst/>
          </a:prstGeom>
          <a:noFill/>
        </p:spPr>
        <p:txBody>
          <a:bodyPr wrap="square">
            <a:spAutoFit/>
          </a:bodyPr>
          <a:lstStyle/>
          <a:p>
            <a:pPr algn="ctr"/>
            <a:r>
              <a:rPr lang="el-GR" sz="1400" spc="-11">
                <a:solidFill>
                  <a:srgbClr val="0F55F5"/>
                </a:solidFill>
              </a:rPr>
              <a:t>Έσοδα ανά τεχνολογία ΑΠΕ στην Ελλάδα</a:t>
            </a:r>
            <a:br>
              <a:rPr lang="el-GR" sz="1400" spc="-11">
                <a:solidFill>
                  <a:srgbClr val="0F55F5"/>
                </a:solidFill>
              </a:rPr>
            </a:br>
            <a:r>
              <a:rPr lang="el-GR" sz="1400" spc="-11">
                <a:solidFill>
                  <a:srgbClr val="0F55F5"/>
                </a:solidFill>
              </a:rPr>
              <a:t> (εκατ. €), [2024]</a:t>
            </a:r>
            <a:endParaRPr lang="en-US" sz="1600">
              <a:solidFill>
                <a:srgbClr val="0F55F5"/>
              </a:solidFill>
            </a:endParaRPr>
          </a:p>
        </p:txBody>
      </p:sp>
      <p:sp>
        <p:nvSpPr>
          <p:cNvPr id="20" name="TextBox 19">
            <a:extLst>
              <a:ext uri="{FF2B5EF4-FFF2-40B4-BE49-F238E27FC236}">
                <a16:creationId xmlns:a16="http://schemas.microsoft.com/office/drawing/2014/main" id="{54597382-C604-3F6B-907C-3A1E690BBB5C}"/>
              </a:ext>
            </a:extLst>
          </p:cNvPr>
          <p:cNvSpPr txBox="1"/>
          <p:nvPr/>
        </p:nvSpPr>
        <p:spPr>
          <a:xfrm>
            <a:off x="5248626" y="1528076"/>
            <a:ext cx="6561908" cy="307777"/>
          </a:xfrm>
          <a:prstGeom prst="rect">
            <a:avLst/>
          </a:prstGeom>
          <a:noFill/>
        </p:spPr>
        <p:txBody>
          <a:bodyPr wrap="square">
            <a:spAutoFit/>
          </a:bodyPr>
          <a:lstStyle/>
          <a:p>
            <a:pPr algn="ctr"/>
            <a:r>
              <a:rPr lang="el-GR" sz="1400" spc="-11">
                <a:solidFill>
                  <a:srgbClr val="0F55F5"/>
                </a:solidFill>
              </a:rPr>
              <a:t>Μερίδιο εσόδων ανά τεχνολογία ΑΠΕ στην Ελλάδα (%), [2024]</a:t>
            </a:r>
            <a:endParaRPr lang="en-US" sz="1400" spc="-11">
              <a:solidFill>
                <a:srgbClr val="0F55F5"/>
              </a:solidFill>
            </a:endParaRPr>
          </a:p>
        </p:txBody>
      </p:sp>
      <p:graphicFrame>
        <p:nvGraphicFramePr>
          <p:cNvPr id="7" name="Chart 6">
            <a:extLst>
              <a:ext uri="{FF2B5EF4-FFF2-40B4-BE49-F238E27FC236}">
                <a16:creationId xmlns:a16="http://schemas.microsoft.com/office/drawing/2014/main" id="{C6A4F693-8232-9839-C59C-3AF8DD8123DE}"/>
              </a:ext>
            </a:extLst>
          </p:cNvPr>
          <p:cNvGraphicFramePr>
            <a:graphicFrameLocks/>
          </p:cNvGraphicFramePr>
          <p:nvPr>
            <p:extLst>
              <p:ext uri="{D42A27DB-BD31-4B8C-83A1-F6EECF244321}">
                <p14:modId xmlns:p14="http://schemas.microsoft.com/office/powerpoint/2010/main" val="2500056255"/>
              </p:ext>
            </p:extLst>
          </p:nvPr>
        </p:nvGraphicFramePr>
        <p:xfrm>
          <a:off x="932223" y="1819340"/>
          <a:ext cx="4164710" cy="4511791"/>
        </p:xfrm>
        <a:graphic>
          <a:graphicData uri="http://schemas.openxmlformats.org/drawingml/2006/chart">
            <c:chart xmlns:c="http://schemas.openxmlformats.org/drawingml/2006/chart" xmlns:r="http://schemas.openxmlformats.org/officeDocument/2006/relationships" r:id="rId3"/>
          </a:graphicData>
        </a:graphic>
      </p:graphicFrame>
      <mc:AlternateContent xmlns:mc="http://schemas.openxmlformats.org/markup-compatibility/2006">
        <mc:Choice xmlns:cx1="http://schemas.microsoft.com/office/drawing/2015/9/8/chartex" Requires="cx1">
          <p:graphicFrame>
            <p:nvGraphicFramePr>
              <p:cNvPr id="8" name="Chart 7">
                <a:extLst>
                  <a:ext uri="{FF2B5EF4-FFF2-40B4-BE49-F238E27FC236}">
                    <a16:creationId xmlns:a16="http://schemas.microsoft.com/office/drawing/2014/main" id="{29130C6D-0015-FE01-17CD-A1F4172CD464}"/>
                  </a:ext>
                </a:extLst>
              </p:cNvPr>
              <p:cNvGraphicFramePr/>
              <p:nvPr>
                <p:extLst>
                  <p:ext uri="{D42A27DB-BD31-4B8C-83A1-F6EECF244321}">
                    <p14:modId xmlns:p14="http://schemas.microsoft.com/office/powerpoint/2010/main" val="2288284603"/>
                  </p:ext>
                </p:extLst>
              </p:nvPr>
            </p:nvGraphicFramePr>
            <p:xfrm>
              <a:off x="5664926" y="1841052"/>
              <a:ext cx="5399314" cy="4120181"/>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8" name="Chart 7">
                <a:extLst>
                  <a:ext uri="{FF2B5EF4-FFF2-40B4-BE49-F238E27FC236}">
                    <a16:creationId xmlns:a16="http://schemas.microsoft.com/office/drawing/2014/main" id="{29130C6D-0015-FE01-17CD-A1F4172CD464}"/>
                  </a:ext>
                </a:extLst>
              </p:cNvPr>
              <p:cNvPicPr>
                <a:picLocks noGrp="1" noRot="1" noChangeAspect="1" noMove="1" noResize="1" noEditPoints="1" noAdjustHandles="1" noChangeArrowheads="1" noChangeShapeType="1"/>
              </p:cNvPicPr>
              <p:nvPr/>
            </p:nvPicPr>
            <p:blipFill>
              <a:blip r:embed="rId5"/>
              <a:stretch>
                <a:fillRect/>
              </a:stretch>
            </p:blipFill>
            <p:spPr>
              <a:xfrm>
                <a:off x="5664926" y="1841052"/>
                <a:ext cx="5399314" cy="4120181"/>
              </a:xfrm>
              <a:prstGeom prst="rect">
                <a:avLst/>
              </a:prstGeom>
            </p:spPr>
          </p:pic>
        </mc:Fallback>
      </mc:AlternateContent>
      <p:sp>
        <p:nvSpPr>
          <p:cNvPr id="3" name="TextBox 2">
            <a:extLst>
              <a:ext uri="{FF2B5EF4-FFF2-40B4-BE49-F238E27FC236}">
                <a16:creationId xmlns:a16="http://schemas.microsoft.com/office/drawing/2014/main" id="{383E70B0-006A-67C6-C180-2019B5BAAA97}"/>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a:t>ΑΔΜΗΕ</a:t>
            </a:r>
            <a:r>
              <a:rPr lang="en-US" sz="1200"/>
              <a:t>,</a:t>
            </a:r>
            <a:r>
              <a:rPr lang="el-GR" sz="1200"/>
              <a:t> ΔΑΠΕΕΠ</a:t>
            </a:r>
            <a:r>
              <a:rPr lang="en-US" sz="1200"/>
              <a:t>, HAEE’s analysis</a:t>
            </a:r>
          </a:p>
        </p:txBody>
      </p:sp>
    </p:spTree>
    <p:extLst>
      <p:ext uri="{BB962C8B-B14F-4D97-AF65-F5344CB8AC3E}">
        <p14:creationId xmlns:p14="http://schemas.microsoft.com/office/powerpoint/2010/main" val="3979248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7F9246-D813-9F43-5D46-355BAB587DC2}"/>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5" name="Slide Number Placeholder 4">
            <a:extLst>
              <a:ext uri="{FF2B5EF4-FFF2-40B4-BE49-F238E27FC236}">
                <a16:creationId xmlns:a16="http://schemas.microsoft.com/office/drawing/2014/main" id="{78C821CC-EF1C-476D-DA28-FADB39EBDDE6}"/>
              </a:ext>
            </a:extLst>
          </p:cNvPr>
          <p:cNvSpPr>
            <a:spLocks noGrp="1"/>
          </p:cNvSpPr>
          <p:nvPr>
            <p:ph type="sldNum" sz="quarter" idx="16"/>
          </p:nvPr>
        </p:nvSpPr>
        <p:spPr/>
        <p:txBody>
          <a:bodyPr/>
          <a:lstStyle/>
          <a:p>
            <a:fld id="{4531D9DC-ADF0-4D0A-8902-0133E3C6D94B}" type="slidenum">
              <a:rPr lang="en-US" smtClean="0"/>
              <a:pPr/>
              <a:t>2</a:t>
            </a:fld>
            <a:endParaRPr lang="en-US"/>
          </a:p>
        </p:txBody>
      </p:sp>
      <p:pic>
        <p:nvPicPr>
          <p:cNvPr id="10" name="Graphic 9">
            <a:extLst>
              <a:ext uri="{FF2B5EF4-FFF2-40B4-BE49-F238E27FC236}">
                <a16:creationId xmlns:a16="http://schemas.microsoft.com/office/drawing/2014/main" id="{5917E036-3AC6-3DE0-C211-F861052126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643" y="548680"/>
            <a:ext cx="3199859" cy="648072"/>
          </a:xfrm>
          <a:prstGeom prst="rect">
            <a:avLst/>
          </a:prstGeom>
        </p:spPr>
      </p:pic>
      <p:pic>
        <p:nvPicPr>
          <p:cNvPr id="11" name="Graphic 10">
            <a:extLst>
              <a:ext uri="{FF2B5EF4-FFF2-40B4-BE49-F238E27FC236}">
                <a16:creationId xmlns:a16="http://schemas.microsoft.com/office/drawing/2014/main" id="{540CF742-E4AF-74AA-DF27-93673F979245}"/>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0056440" y="6008505"/>
            <a:ext cx="1564840" cy="449780"/>
          </a:xfrm>
          <a:prstGeom prst="rect">
            <a:avLst/>
          </a:prstGeom>
        </p:spPr>
      </p:pic>
      <p:pic>
        <p:nvPicPr>
          <p:cNvPr id="12" name="Picture 11" descr="A black and white sign with white text&#10;&#10;Description automatically generated">
            <a:extLst>
              <a:ext uri="{FF2B5EF4-FFF2-40B4-BE49-F238E27FC236}">
                <a16:creationId xmlns:a16="http://schemas.microsoft.com/office/drawing/2014/main" id="{C92EEFA3-B3E9-0DE8-E3F3-7A5E5117C9B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pic>
        <p:nvPicPr>
          <p:cNvPr id="2" name="Graphic 1" descr="Cursor with solid fill">
            <a:extLst>
              <a:ext uri="{FF2B5EF4-FFF2-40B4-BE49-F238E27FC236}">
                <a16:creationId xmlns:a16="http://schemas.microsoft.com/office/drawing/2014/main" id="{D51C113D-4E4B-4D34-B8E1-A402DB95DB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87052" y="1875224"/>
            <a:ext cx="733132" cy="733132"/>
          </a:xfrm>
          <a:prstGeom prst="rect">
            <a:avLst/>
          </a:prstGeom>
        </p:spPr>
      </p:pic>
      <p:pic>
        <p:nvPicPr>
          <p:cNvPr id="4" name="Picture 3">
            <a:extLst>
              <a:ext uri="{FF2B5EF4-FFF2-40B4-BE49-F238E27FC236}">
                <a16:creationId xmlns:a16="http://schemas.microsoft.com/office/drawing/2014/main" id="{F17EA005-74E9-29F6-D4C6-4A96FF34BCA6}"/>
              </a:ext>
            </a:extLst>
          </p:cNvPr>
          <p:cNvPicPr>
            <a:picLocks noChangeAspect="1"/>
          </p:cNvPicPr>
          <p:nvPr/>
        </p:nvPicPr>
        <p:blipFill>
          <a:blip r:embed="rId10"/>
          <a:stretch>
            <a:fillRect/>
          </a:stretch>
        </p:blipFill>
        <p:spPr>
          <a:xfrm>
            <a:off x="1707751" y="2726766"/>
            <a:ext cx="3187392" cy="1800201"/>
          </a:xfrm>
          <a:prstGeom prst="rect">
            <a:avLst/>
          </a:prstGeom>
        </p:spPr>
      </p:pic>
      <p:sp>
        <p:nvSpPr>
          <p:cNvPr id="13" name="TextBox 12">
            <a:extLst>
              <a:ext uri="{FF2B5EF4-FFF2-40B4-BE49-F238E27FC236}">
                <a16:creationId xmlns:a16="http://schemas.microsoft.com/office/drawing/2014/main" id="{B119DD3C-48CC-581A-0C13-83D7FDC776B1}"/>
              </a:ext>
            </a:extLst>
          </p:cNvPr>
          <p:cNvSpPr txBox="1"/>
          <p:nvPr/>
        </p:nvSpPr>
        <p:spPr>
          <a:xfrm>
            <a:off x="7384850" y="1883887"/>
            <a:ext cx="2671590" cy="553998"/>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b="1">
                <a:solidFill>
                  <a:schemeClr val="bg1"/>
                </a:solidFill>
                <a:latin typeface="+mj-lt"/>
              </a:rPr>
              <a:t>Αποκωδικοποιώντας την Ενεργειακή Επικαιρότητα</a:t>
            </a:r>
            <a:endParaRPr lang="en-US" b="1">
              <a:solidFill>
                <a:schemeClr val="bg1"/>
              </a:solidFill>
              <a:latin typeface="+mj-lt"/>
            </a:endParaRPr>
          </a:p>
        </p:txBody>
      </p:sp>
      <p:pic>
        <p:nvPicPr>
          <p:cNvPr id="15" name="Graphic 14" descr="Laptop with solid fill">
            <a:extLst>
              <a:ext uri="{FF2B5EF4-FFF2-40B4-BE49-F238E27FC236}">
                <a16:creationId xmlns:a16="http://schemas.microsoft.com/office/drawing/2014/main" id="{888E8960-A3D6-B023-22C3-7EF2AFBF7A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9582" y="1826737"/>
            <a:ext cx="4601118" cy="4028025"/>
          </a:xfrm>
          <a:prstGeom prst="rect">
            <a:avLst/>
          </a:prstGeom>
        </p:spPr>
      </p:pic>
      <p:sp>
        <p:nvSpPr>
          <p:cNvPr id="16" name="TextBox 15">
            <a:extLst>
              <a:ext uri="{FF2B5EF4-FFF2-40B4-BE49-F238E27FC236}">
                <a16:creationId xmlns:a16="http://schemas.microsoft.com/office/drawing/2014/main" id="{63D8656C-7B74-EAC9-68E5-342DF3E23B8D}"/>
              </a:ext>
            </a:extLst>
          </p:cNvPr>
          <p:cNvSpPr txBox="1"/>
          <p:nvPr/>
        </p:nvSpPr>
        <p:spPr>
          <a:xfrm>
            <a:off x="804776" y="1872458"/>
            <a:ext cx="5073639" cy="369332"/>
          </a:xfrm>
          <a:prstGeom prst="rect">
            <a:avLst/>
          </a:prstGeom>
          <a:noFill/>
        </p:spPr>
        <p:txBody>
          <a:bodyPr wrap="square" rtlCol="0">
            <a:spAutoFit/>
          </a:bodyPr>
          <a:lstStyle/>
          <a:p>
            <a:pPr algn="ctr"/>
            <a:r>
              <a:rPr lang="en-US" b="1">
                <a:solidFill>
                  <a:schemeClr val="bg1"/>
                </a:solidFill>
                <a:latin typeface="+mj-lt"/>
                <a:hlinkClick r:id="rId13">
                  <a:extLst>
                    <a:ext uri="{A12FA001-AC4F-418D-AE19-62706E023703}">
                      <ahyp:hlinkClr xmlns:ahyp="http://schemas.microsoft.com/office/drawing/2018/hyperlinkcolor" val="tx"/>
                    </a:ext>
                  </a:extLst>
                </a:hlinkClick>
              </a:rPr>
              <a:t>https://energy.alba.acg.edu/</a:t>
            </a:r>
            <a:endParaRPr lang="en-US" b="1">
              <a:solidFill>
                <a:schemeClr val="bg1"/>
              </a:solidFill>
              <a:latin typeface="+mj-lt"/>
            </a:endParaRPr>
          </a:p>
        </p:txBody>
      </p:sp>
      <p:pic>
        <p:nvPicPr>
          <p:cNvPr id="7" name="Picture 6">
            <a:extLst>
              <a:ext uri="{FF2B5EF4-FFF2-40B4-BE49-F238E27FC236}">
                <a16:creationId xmlns:a16="http://schemas.microsoft.com/office/drawing/2014/main" id="{09E3C9DB-788B-F60C-8A15-40ECE0931D82}"/>
              </a:ext>
            </a:extLst>
          </p:cNvPr>
          <p:cNvPicPr>
            <a:picLocks noChangeAspect="1"/>
          </p:cNvPicPr>
          <p:nvPr/>
        </p:nvPicPr>
        <p:blipFill>
          <a:blip r:embed="rId14"/>
          <a:stretch>
            <a:fillRect/>
          </a:stretch>
        </p:blipFill>
        <p:spPr>
          <a:xfrm>
            <a:off x="6810486" y="2610665"/>
            <a:ext cx="4014677" cy="2319244"/>
          </a:xfrm>
          <a:prstGeom prst="rect">
            <a:avLst/>
          </a:prstGeom>
        </p:spPr>
      </p:pic>
    </p:spTree>
    <p:extLst>
      <p:ext uri="{BB962C8B-B14F-4D97-AF65-F5344CB8AC3E}">
        <p14:creationId xmlns:p14="http://schemas.microsoft.com/office/powerpoint/2010/main" val="1483897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8384E-CAC5-705B-1367-70066F22BD5A}"/>
            </a:ext>
          </a:extLst>
        </p:cNvPr>
        <p:cNvGrpSpPr/>
        <p:nvPr/>
      </p:nvGrpSpPr>
      <p:grpSpPr>
        <a:xfrm>
          <a:off x="0" y="0"/>
          <a:ext cx="0" cy="0"/>
          <a:chOff x="0" y="0"/>
          <a:chExt cx="0" cy="0"/>
        </a:xfrm>
      </p:grpSpPr>
      <mc:AlternateContent xmlns:mc="http://schemas.openxmlformats.org/markup-compatibility/2006">
        <mc:Choice xmlns:cx6="http://schemas.microsoft.com/office/drawing/2016/5/12/chartex" Requires="cx6">
          <p:graphicFrame>
            <p:nvGraphicFramePr>
              <p:cNvPr id="12" name="Chart 11">
                <a:extLst>
                  <a:ext uri="{FF2B5EF4-FFF2-40B4-BE49-F238E27FC236}">
                    <a16:creationId xmlns:a16="http://schemas.microsoft.com/office/drawing/2014/main" id="{D976B149-BDCC-E87F-8F59-EE5A1A43CFD8}"/>
                  </a:ext>
                </a:extLst>
              </p:cNvPr>
              <p:cNvGraphicFramePr/>
              <p:nvPr>
                <p:extLst>
                  <p:ext uri="{D42A27DB-BD31-4B8C-83A1-F6EECF244321}">
                    <p14:modId xmlns:p14="http://schemas.microsoft.com/office/powerpoint/2010/main" val="458659942"/>
                  </p:ext>
                </p:extLst>
              </p:nvPr>
            </p:nvGraphicFramePr>
            <p:xfrm>
              <a:off x="5651863" y="2168433"/>
              <a:ext cx="6096765" cy="4157939"/>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12" name="Chart 11">
                <a:extLst>
                  <a:ext uri="{FF2B5EF4-FFF2-40B4-BE49-F238E27FC236}">
                    <a16:creationId xmlns:a16="http://schemas.microsoft.com/office/drawing/2014/main" id="{D976B149-BDCC-E87F-8F59-EE5A1A43CFD8}"/>
                  </a:ext>
                </a:extLst>
              </p:cNvPr>
              <p:cNvPicPr>
                <a:picLocks noGrp="1" noRot="1" noChangeAspect="1" noMove="1" noResize="1" noEditPoints="1" noAdjustHandles="1" noChangeArrowheads="1" noChangeShapeType="1"/>
              </p:cNvPicPr>
              <p:nvPr/>
            </p:nvPicPr>
            <p:blipFill>
              <a:blip r:embed="rId4"/>
              <a:stretch>
                <a:fillRect/>
              </a:stretch>
            </p:blipFill>
            <p:spPr>
              <a:xfrm>
                <a:off x="5651863" y="2168433"/>
                <a:ext cx="6096765" cy="4157939"/>
              </a:xfrm>
              <a:prstGeom prst="rect">
                <a:avLst/>
              </a:prstGeom>
            </p:spPr>
          </p:pic>
        </mc:Fallback>
      </mc:AlternateContent>
      <p:graphicFrame>
        <p:nvGraphicFramePr>
          <p:cNvPr id="11" name="Chart 10">
            <a:extLst>
              <a:ext uri="{FF2B5EF4-FFF2-40B4-BE49-F238E27FC236}">
                <a16:creationId xmlns:a16="http://schemas.microsoft.com/office/drawing/2014/main" id="{4E977AEF-48B9-C34C-C3C9-535D236B6CF3}"/>
              </a:ext>
            </a:extLst>
          </p:cNvPr>
          <p:cNvGraphicFramePr>
            <a:graphicFrameLocks/>
          </p:cNvGraphicFramePr>
          <p:nvPr>
            <p:extLst>
              <p:ext uri="{D42A27DB-BD31-4B8C-83A1-F6EECF244321}">
                <p14:modId xmlns:p14="http://schemas.microsoft.com/office/powerpoint/2010/main" val="2234367496"/>
              </p:ext>
            </p:extLst>
          </p:nvPr>
        </p:nvGraphicFramePr>
        <p:xfrm>
          <a:off x="765045" y="2903621"/>
          <a:ext cx="4638941" cy="3509229"/>
        </p:xfrm>
        <a:graphic>
          <a:graphicData uri="http://schemas.openxmlformats.org/drawingml/2006/chart">
            <c:chart xmlns:c="http://schemas.openxmlformats.org/drawingml/2006/chart" xmlns:r="http://schemas.openxmlformats.org/officeDocument/2006/relationships" r:id="rId5"/>
          </a:graphicData>
        </a:graphic>
      </p:graphicFrame>
      <p:sp>
        <p:nvSpPr>
          <p:cNvPr id="5" name="Slide Number Placeholder 4">
            <a:extLst>
              <a:ext uri="{FF2B5EF4-FFF2-40B4-BE49-F238E27FC236}">
                <a16:creationId xmlns:a16="http://schemas.microsoft.com/office/drawing/2014/main" id="{58DC6712-D69D-0D47-1C84-1861FDB6700D}"/>
              </a:ext>
            </a:extLst>
          </p:cNvPr>
          <p:cNvSpPr>
            <a:spLocks noGrp="1"/>
          </p:cNvSpPr>
          <p:nvPr>
            <p:ph type="sldNum" sz="quarter" idx="16"/>
          </p:nvPr>
        </p:nvSpPr>
        <p:spPr/>
        <p:txBody>
          <a:bodyPr/>
          <a:lstStyle/>
          <a:p>
            <a:fld id="{4531D9DC-ADF0-4D0A-8902-0133E3C6D94B}" type="slidenum">
              <a:rPr lang="en-US" smtClean="0"/>
              <a:pPr/>
              <a:t>20</a:t>
            </a:fld>
            <a:endParaRPr lang="en-US"/>
          </a:p>
        </p:txBody>
      </p:sp>
      <p:sp>
        <p:nvSpPr>
          <p:cNvPr id="6" name="Title 5">
            <a:extLst>
              <a:ext uri="{FF2B5EF4-FFF2-40B4-BE49-F238E27FC236}">
                <a16:creationId xmlns:a16="http://schemas.microsoft.com/office/drawing/2014/main" id="{4B9352DF-51B4-4BFB-1C1E-3E2C8776EBB9}"/>
              </a:ext>
            </a:extLst>
          </p:cNvPr>
          <p:cNvSpPr>
            <a:spLocks noGrp="1"/>
          </p:cNvSpPr>
          <p:nvPr>
            <p:ph type="title"/>
          </p:nvPr>
        </p:nvSpPr>
        <p:spPr>
          <a:xfrm>
            <a:off x="443372" y="379660"/>
            <a:ext cx="11305716" cy="1969770"/>
          </a:xfrm>
        </p:spPr>
        <p:txBody>
          <a:bodyPr/>
          <a:lstStyle/>
          <a:p>
            <a:r>
              <a:rPr lang="el-GR">
                <a:solidFill>
                  <a:schemeClr val="accent2"/>
                </a:solidFill>
              </a:rPr>
              <a:t>Παρόλο που τα PPAs έφτασαν στο αποκορύφωμα της δημοτικότητας και του όγκου συναλλαγών το 2023, το 2024 καταγράφεται μείωση στους όγκους, αλλά όχι στις συναλλαγές</a:t>
            </a:r>
            <a:endParaRPr lang="en-US">
              <a:solidFill>
                <a:schemeClr val="accent2"/>
              </a:solidFill>
            </a:endParaRPr>
          </a:p>
        </p:txBody>
      </p:sp>
      <p:sp>
        <p:nvSpPr>
          <p:cNvPr id="18" name="TextBox 17">
            <a:extLst>
              <a:ext uri="{FF2B5EF4-FFF2-40B4-BE49-F238E27FC236}">
                <a16:creationId xmlns:a16="http://schemas.microsoft.com/office/drawing/2014/main" id="{E1BA0A77-22B4-4D02-BB97-0CC4AB5A422C}"/>
              </a:ext>
            </a:extLst>
          </p:cNvPr>
          <p:cNvSpPr txBox="1"/>
          <p:nvPr/>
        </p:nvSpPr>
        <p:spPr>
          <a:xfrm>
            <a:off x="1197429" y="2371582"/>
            <a:ext cx="3580581" cy="738664"/>
          </a:xfrm>
          <a:prstGeom prst="rect">
            <a:avLst/>
          </a:prstGeom>
          <a:noFill/>
        </p:spPr>
        <p:txBody>
          <a:bodyPr wrap="square">
            <a:spAutoFit/>
          </a:bodyPr>
          <a:lstStyle/>
          <a:p>
            <a:pPr algn="ctr"/>
            <a:r>
              <a:rPr lang="el-GR" sz="1400" spc="-11">
                <a:solidFill>
                  <a:srgbClr val="0F55F5"/>
                </a:solidFill>
              </a:rPr>
              <a:t>Ροές Συμφωνιών (Deal Flows σε GW) και Πλήθος Δημοσιοποιημένων Συμβάσεων PPAs (%), [2018–2024]</a:t>
            </a:r>
            <a:endParaRPr lang="en-US" sz="1600">
              <a:solidFill>
                <a:srgbClr val="0F55F5"/>
              </a:solidFill>
            </a:endParaRPr>
          </a:p>
        </p:txBody>
      </p:sp>
      <p:sp>
        <p:nvSpPr>
          <p:cNvPr id="10" name="TextBox 9">
            <a:extLst>
              <a:ext uri="{FF2B5EF4-FFF2-40B4-BE49-F238E27FC236}">
                <a16:creationId xmlns:a16="http://schemas.microsoft.com/office/drawing/2014/main" id="{6DAF22CC-B224-74A6-A4E9-6DCD5333C4F9}"/>
              </a:ext>
            </a:extLst>
          </p:cNvPr>
          <p:cNvSpPr txBox="1"/>
          <p:nvPr/>
        </p:nvSpPr>
        <p:spPr>
          <a:xfrm>
            <a:off x="6273160" y="2349430"/>
            <a:ext cx="3624942" cy="738664"/>
          </a:xfrm>
          <a:prstGeom prst="rect">
            <a:avLst/>
          </a:prstGeom>
          <a:noFill/>
        </p:spPr>
        <p:txBody>
          <a:bodyPr wrap="square">
            <a:spAutoFit/>
          </a:bodyPr>
          <a:lstStyle/>
          <a:p>
            <a:pPr algn="ctr"/>
            <a:r>
              <a:rPr lang="el-GR" sz="1400" spc="-11">
                <a:solidFill>
                  <a:srgbClr val="0F55F5"/>
                </a:solidFill>
              </a:rPr>
              <a:t>Όγκοι Εμπορικών Συμφωνιών Αγοραπωλησίας Ενέργειας (</a:t>
            </a:r>
            <a:r>
              <a:rPr lang="el-GR" sz="1400" spc="-11" err="1">
                <a:solidFill>
                  <a:srgbClr val="0F55F5"/>
                </a:solidFill>
              </a:rPr>
              <a:t>PPAs</a:t>
            </a:r>
            <a:r>
              <a:rPr lang="el-GR" sz="1400" spc="-11">
                <a:solidFill>
                  <a:srgbClr val="0F55F5"/>
                </a:solidFill>
              </a:rPr>
              <a:t>) στην Ευρώπη (σε GW), [2024]</a:t>
            </a:r>
            <a:endParaRPr lang="en-US" sz="1400" spc="-11">
              <a:solidFill>
                <a:srgbClr val="0F55F5"/>
              </a:solidFill>
            </a:endParaRPr>
          </a:p>
        </p:txBody>
      </p:sp>
      <p:sp>
        <p:nvSpPr>
          <p:cNvPr id="3" name="TextBox 2">
            <a:extLst>
              <a:ext uri="{FF2B5EF4-FFF2-40B4-BE49-F238E27FC236}">
                <a16:creationId xmlns:a16="http://schemas.microsoft.com/office/drawing/2014/main" id="{DD1E1CF7-DE9C-01DB-4544-182E36ABDA06}"/>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a:t>ΑΔΜΗΕ</a:t>
            </a:r>
            <a:r>
              <a:rPr lang="en-US" sz="1200"/>
              <a:t>,</a:t>
            </a:r>
            <a:r>
              <a:rPr lang="el-GR" sz="1200"/>
              <a:t> </a:t>
            </a:r>
            <a:r>
              <a:rPr lang="en-US" sz="1200" err="1"/>
              <a:t>PexaPark</a:t>
            </a:r>
            <a:r>
              <a:rPr lang="en-US" sz="1200"/>
              <a:t>, HAEE’s analysis</a:t>
            </a:r>
          </a:p>
        </p:txBody>
      </p:sp>
    </p:spTree>
    <p:extLst>
      <p:ext uri="{BB962C8B-B14F-4D97-AF65-F5344CB8AC3E}">
        <p14:creationId xmlns:p14="http://schemas.microsoft.com/office/powerpoint/2010/main" val="404241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7A5459-B368-11FC-4E40-C2DDF9673DF3}"/>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311CAC1-CD46-DCDD-1386-B53B4A76D4FF}"/>
              </a:ext>
            </a:extLst>
          </p:cNvPr>
          <p:cNvSpPr>
            <a:spLocks noGrp="1"/>
          </p:cNvSpPr>
          <p:nvPr>
            <p:ph type="sldNum" sz="quarter" idx="16"/>
          </p:nvPr>
        </p:nvSpPr>
        <p:spPr/>
        <p:txBody>
          <a:bodyPr/>
          <a:lstStyle/>
          <a:p>
            <a:fld id="{4531D9DC-ADF0-4D0A-8902-0133E3C6D94B}" type="slidenum">
              <a:rPr lang="en-US" smtClean="0"/>
              <a:pPr/>
              <a:t>21</a:t>
            </a:fld>
            <a:endParaRPr lang="en-US"/>
          </a:p>
        </p:txBody>
      </p:sp>
      <p:graphicFrame>
        <p:nvGraphicFramePr>
          <p:cNvPr id="3" name="Chart 2">
            <a:extLst>
              <a:ext uri="{FF2B5EF4-FFF2-40B4-BE49-F238E27FC236}">
                <a16:creationId xmlns:a16="http://schemas.microsoft.com/office/drawing/2014/main" id="{CA53B8A9-3EE1-EA3B-E424-5459B9EBD246}"/>
              </a:ext>
            </a:extLst>
          </p:cNvPr>
          <p:cNvGraphicFramePr>
            <a:graphicFrameLocks/>
          </p:cNvGraphicFramePr>
          <p:nvPr>
            <p:extLst>
              <p:ext uri="{D42A27DB-BD31-4B8C-83A1-F6EECF244321}">
                <p14:modId xmlns:p14="http://schemas.microsoft.com/office/powerpoint/2010/main" val="3961496186"/>
              </p:ext>
            </p:extLst>
          </p:nvPr>
        </p:nvGraphicFramePr>
        <p:xfrm>
          <a:off x="569372" y="1583251"/>
          <a:ext cx="5364761" cy="445700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250E09E-1F29-BFBA-C08E-D96A9D1A6114}"/>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Eurostat</a:t>
            </a:r>
          </a:p>
        </p:txBody>
      </p:sp>
      <p:pic>
        <p:nvPicPr>
          <p:cNvPr id="2" name="Picture 1">
            <a:extLst>
              <a:ext uri="{FF2B5EF4-FFF2-40B4-BE49-F238E27FC236}">
                <a16:creationId xmlns:a16="http://schemas.microsoft.com/office/drawing/2014/main" id="{A313E96D-A91C-20B4-29FD-B9C44736BCA5}"/>
              </a:ext>
            </a:extLst>
          </p:cNvPr>
          <p:cNvPicPr>
            <a:picLocks noChangeAspect="1"/>
          </p:cNvPicPr>
          <p:nvPr/>
        </p:nvPicPr>
        <p:blipFill>
          <a:blip r:embed="rId4"/>
          <a:stretch>
            <a:fillRect/>
          </a:stretch>
        </p:blipFill>
        <p:spPr>
          <a:xfrm>
            <a:off x="6485468" y="2019278"/>
            <a:ext cx="5022832" cy="3778691"/>
          </a:xfrm>
          <a:prstGeom prst="rect">
            <a:avLst/>
          </a:prstGeom>
        </p:spPr>
      </p:pic>
      <p:sp>
        <p:nvSpPr>
          <p:cNvPr id="7" name="TextBox 6">
            <a:extLst>
              <a:ext uri="{FF2B5EF4-FFF2-40B4-BE49-F238E27FC236}">
                <a16:creationId xmlns:a16="http://schemas.microsoft.com/office/drawing/2014/main" id="{7D45458E-92A3-8BBC-3622-F0E7C05BB3F7}"/>
              </a:ext>
            </a:extLst>
          </p:cNvPr>
          <p:cNvSpPr txBox="1"/>
          <p:nvPr/>
        </p:nvSpPr>
        <p:spPr>
          <a:xfrm>
            <a:off x="6766813" y="1060031"/>
            <a:ext cx="3285973" cy="523220"/>
          </a:xfrm>
          <a:prstGeom prst="rect">
            <a:avLst/>
          </a:prstGeom>
          <a:noFill/>
        </p:spPr>
        <p:txBody>
          <a:bodyPr wrap="square">
            <a:spAutoFit/>
          </a:bodyPr>
          <a:lstStyle/>
          <a:p>
            <a:pPr algn="ctr"/>
            <a:r>
              <a:rPr lang="el-GR" sz="1400" spc="-11">
                <a:solidFill>
                  <a:srgbClr val="0F55F5"/>
                </a:solidFill>
              </a:rPr>
              <a:t>Παραγωγή ηλεκτρικής ενέργειας (TWh) στην Ευρώπη ανά καύσιμο, [2024]</a:t>
            </a:r>
            <a:endParaRPr lang="en-US" sz="1400" spc="-11">
              <a:solidFill>
                <a:srgbClr val="0F55F5"/>
              </a:solidFill>
            </a:endParaRPr>
          </a:p>
        </p:txBody>
      </p:sp>
      <p:sp>
        <p:nvSpPr>
          <p:cNvPr id="8" name="TextBox 7">
            <a:extLst>
              <a:ext uri="{FF2B5EF4-FFF2-40B4-BE49-F238E27FC236}">
                <a16:creationId xmlns:a16="http://schemas.microsoft.com/office/drawing/2014/main" id="{9C6DB2A0-BED9-E73A-CBA8-D2282597AA54}"/>
              </a:ext>
            </a:extLst>
          </p:cNvPr>
          <p:cNvSpPr txBox="1"/>
          <p:nvPr/>
        </p:nvSpPr>
        <p:spPr>
          <a:xfrm>
            <a:off x="1986815" y="1060031"/>
            <a:ext cx="3285973" cy="523220"/>
          </a:xfrm>
          <a:prstGeom prst="rect">
            <a:avLst/>
          </a:prstGeom>
          <a:noFill/>
        </p:spPr>
        <p:txBody>
          <a:bodyPr wrap="square">
            <a:spAutoFit/>
          </a:bodyPr>
          <a:lstStyle/>
          <a:p>
            <a:pPr algn="ctr"/>
            <a:r>
              <a:rPr lang="el-GR" sz="1400" spc="-11">
                <a:solidFill>
                  <a:srgbClr val="0F55F5"/>
                </a:solidFill>
              </a:rPr>
              <a:t>Ακαθάριστη Παραγωγή Ηλεκτρικής Ενέργειας ανά Καύσιμο στην ΕΕ (%), [2024]</a:t>
            </a:r>
            <a:endParaRPr lang="en-US" sz="1400" spc="-11">
              <a:solidFill>
                <a:srgbClr val="0F55F5"/>
              </a:solidFill>
            </a:endParaRPr>
          </a:p>
        </p:txBody>
      </p:sp>
      <p:sp>
        <p:nvSpPr>
          <p:cNvPr id="9" name="Title 5">
            <a:extLst>
              <a:ext uri="{FF2B5EF4-FFF2-40B4-BE49-F238E27FC236}">
                <a16:creationId xmlns:a16="http://schemas.microsoft.com/office/drawing/2014/main" id="{291A746F-DFD6-C6DA-08A6-4AEA70DDD1F6}"/>
              </a:ext>
            </a:extLst>
          </p:cNvPr>
          <p:cNvSpPr>
            <a:spLocks noGrp="1"/>
          </p:cNvSpPr>
          <p:nvPr>
            <p:ph type="title"/>
          </p:nvPr>
        </p:nvSpPr>
        <p:spPr>
          <a:xfrm>
            <a:off x="443372" y="379660"/>
            <a:ext cx="11305716" cy="492443"/>
          </a:xfrm>
        </p:spPr>
        <p:txBody>
          <a:bodyPr/>
          <a:lstStyle/>
          <a:p>
            <a:r>
              <a:rPr lang="el-GR">
                <a:solidFill>
                  <a:schemeClr val="accent2"/>
                </a:solidFill>
              </a:rPr>
              <a:t>Αποτύπωση της Παραγωγής Ηλεκτρικής Ενέργειας</a:t>
            </a:r>
            <a:endParaRPr lang="en-US">
              <a:solidFill>
                <a:schemeClr val="accent2"/>
              </a:solidFill>
            </a:endParaRPr>
          </a:p>
        </p:txBody>
      </p:sp>
    </p:spTree>
    <p:extLst>
      <p:ext uri="{BB962C8B-B14F-4D97-AF65-F5344CB8AC3E}">
        <p14:creationId xmlns:p14="http://schemas.microsoft.com/office/powerpoint/2010/main" val="25564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186B1-CA1E-97B5-6A75-155625F9C57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C49A956-042B-C8D9-D438-1206BDA11434}"/>
              </a:ext>
            </a:extLst>
          </p:cNvPr>
          <p:cNvSpPr>
            <a:spLocks noGrp="1"/>
          </p:cNvSpPr>
          <p:nvPr>
            <p:ph type="title"/>
          </p:nvPr>
        </p:nvSpPr>
        <p:spPr>
          <a:xfrm>
            <a:off x="443372" y="379660"/>
            <a:ext cx="11305716" cy="492443"/>
          </a:xfrm>
        </p:spPr>
        <p:txBody>
          <a:bodyPr/>
          <a:lstStyle/>
          <a:p>
            <a:r>
              <a:rPr lang="el-GR">
                <a:solidFill>
                  <a:schemeClr val="accent2"/>
                </a:solidFill>
              </a:rPr>
              <a:t>Αντιμετώπιση των περικοπών μέσω Αποθήκευσης</a:t>
            </a:r>
            <a:endParaRPr lang="en-US">
              <a:solidFill>
                <a:schemeClr val="accent2"/>
              </a:solidFill>
            </a:endParaRPr>
          </a:p>
        </p:txBody>
      </p:sp>
      <p:sp>
        <p:nvSpPr>
          <p:cNvPr id="5" name="Slide Number Placeholder 4">
            <a:extLst>
              <a:ext uri="{FF2B5EF4-FFF2-40B4-BE49-F238E27FC236}">
                <a16:creationId xmlns:a16="http://schemas.microsoft.com/office/drawing/2014/main" id="{8BF72E12-A9CF-FEB4-CD13-BF8B6AE90EF5}"/>
              </a:ext>
            </a:extLst>
          </p:cNvPr>
          <p:cNvSpPr>
            <a:spLocks noGrp="1"/>
          </p:cNvSpPr>
          <p:nvPr>
            <p:ph type="sldNum" sz="quarter" idx="16"/>
          </p:nvPr>
        </p:nvSpPr>
        <p:spPr/>
        <p:txBody>
          <a:bodyPr/>
          <a:lstStyle/>
          <a:p>
            <a:fld id="{4531D9DC-ADF0-4D0A-8902-0133E3C6D94B}" type="slidenum">
              <a:rPr lang="en-US" smtClean="0"/>
              <a:pPr/>
              <a:t>22</a:t>
            </a:fld>
            <a:endParaRPr lang="en-US"/>
          </a:p>
        </p:txBody>
      </p:sp>
      <p:pic>
        <p:nvPicPr>
          <p:cNvPr id="13" name="Graphic 12" descr="Arrow circle with solid fill">
            <a:extLst>
              <a:ext uri="{FF2B5EF4-FFF2-40B4-BE49-F238E27FC236}">
                <a16:creationId xmlns:a16="http://schemas.microsoft.com/office/drawing/2014/main" id="{725F39BA-3EE0-918C-5CAC-F990873F019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8250" y="130226"/>
            <a:ext cx="7225084" cy="7225084"/>
          </a:xfrm>
          <a:prstGeom prst="rect">
            <a:avLst/>
          </a:prstGeom>
        </p:spPr>
      </p:pic>
      <p:sp>
        <p:nvSpPr>
          <p:cNvPr id="15" name="TextBox 14">
            <a:extLst>
              <a:ext uri="{FF2B5EF4-FFF2-40B4-BE49-F238E27FC236}">
                <a16:creationId xmlns:a16="http://schemas.microsoft.com/office/drawing/2014/main" id="{697232B8-C3A6-F395-4570-E3AB2FD9278B}"/>
              </a:ext>
            </a:extLst>
          </p:cNvPr>
          <p:cNvSpPr txBox="1"/>
          <p:nvPr/>
        </p:nvSpPr>
        <p:spPr>
          <a:xfrm>
            <a:off x="2298224" y="1269855"/>
            <a:ext cx="1608757" cy="738664"/>
          </a:xfrm>
          <a:prstGeom prst="rect">
            <a:avLst/>
          </a:prstGeom>
          <a:solidFill>
            <a:srgbClr val="D5E2FF"/>
          </a:solidFill>
          <a:ln>
            <a:solidFill>
              <a:schemeClr val="accent2"/>
            </a:solidFill>
          </a:ln>
        </p:spPr>
        <p:txBody>
          <a:bodyPr wrap="square" lIns="0" tIns="0" rIns="0" bIns="0" rtlCol="0">
            <a:spAutoFit/>
          </a:bodyPr>
          <a:lstStyle/>
          <a:p>
            <a:pPr algn="ctr">
              <a:lnSpc>
                <a:spcPct val="100000"/>
              </a:lnSpc>
              <a:spcBef>
                <a:spcPts val="600"/>
              </a:spcBef>
              <a:buClr>
                <a:schemeClr val="accent1"/>
              </a:buClr>
            </a:pPr>
            <a:r>
              <a:rPr lang="el-GR" sz="1200"/>
              <a:t>Η εγχώρια παραγωγή από ΑΠΕ προέρχεται κυρίως από φωτοβολταϊκά</a:t>
            </a:r>
            <a:endParaRPr lang="en-US" sz="1200">
              <a:solidFill>
                <a:schemeClr val="tx1"/>
              </a:solidFill>
            </a:endParaRPr>
          </a:p>
        </p:txBody>
      </p:sp>
      <p:sp>
        <p:nvSpPr>
          <p:cNvPr id="17" name="TextBox 16">
            <a:extLst>
              <a:ext uri="{FF2B5EF4-FFF2-40B4-BE49-F238E27FC236}">
                <a16:creationId xmlns:a16="http://schemas.microsoft.com/office/drawing/2014/main" id="{6892C09E-7060-9115-0936-4BA31F7DFF88}"/>
              </a:ext>
            </a:extLst>
          </p:cNvPr>
          <p:cNvSpPr txBox="1"/>
          <p:nvPr/>
        </p:nvSpPr>
        <p:spPr>
          <a:xfrm>
            <a:off x="3676781" y="2228671"/>
            <a:ext cx="1936377" cy="1200329"/>
          </a:xfrm>
          <a:prstGeom prst="rect">
            <a:avLst/>
          </a:prstGeom>
          <a:solidFill>
            <a:srgbClr val="D5E2FF"/>
          </a:solidFill>
          <a:ln>
            <a:solidFill>
              <a:schemeClr val="accent2"/>
            </a:solidFill>
          </a:ln>
        </p:spPr>
        <p:txBody>
          <a:bodyPr wrap="square">
            <a:spAutoFit/>
          </a:bodyPr>
          <a:lstStyle/>
          <a:p>
            <a:pPr algn="ctr"/>
            <a:r>
              <a:rPr lang="el-GR" sz="1200"/>
              <a:t>Οι καμπύλες παραγωγής ανανεώσιμης και συμβατικής ενέργειας είναι σχεδόν συμπληρωματικές μεταξύ τους.</a:t>
            </a:r>
            <a:endParaRPr lang="en-US" sz="1200"/>
          </a:p>
        </p:txBody>
      </p:sp>
      <p:sp>
        <p:nvSpPr>
          <p:cNvPr id="19" name="TextBox 18">
            <a:extLst>
              <a:ext uri="{FF2B5EF4-FFF2-40B4-BE49-F238E27FC236}">
                <a16:creationId xmlns:a16="http://schemas.microsoft.com/office/drawing/2014/main" id="{95256DBD-6AEE-E1E9-FD92-F140C9705D89}"/>
              </a:ext>
            </a:extLst>
          </p:cNvPr>
          <p:cNvSpPr txBox="1"/>
          <p:nvPr/>
        </p:nvSpPr>
        <p:spPr>
          <a:xfrm>
            <a:off x="3427976" y="3878767"/>
            <a:ext cx="2164976" cy="1754326"/>
          </a:xfrm>
          <a:prstGeom prst="rect">
            <a:avLst/>
          </a:prstGeom>
          <a:solidFill>
            <a:srgbClr val="D5E2FF"/>
          </a:solidFill>
          <a:ln>
            <a:solidFill>
              <a:schemeClr val="accent2"/>
            </a:solidFill>
          </a:ln>
        </p:spPr>
        <p:txBody>
          <a:bodyPr wrap="square">
            <a:spAutoFit/>
          </a:bodyPr>
          <a:lstStyle/>
          <a:p>
            <a:pPr algn="ctr"/>
            <a:r>
              <a:rPr lang="el-GR" sz="1200"/>
              <a:t>Οι τιμές στην Αγορά Επόμενης Ημέρας (DAM) ακολουθούν καμπύλη που είναι συμπληρωματική προς αυτήν των περικοπών, παρουσιάζοντας επίσης παρόμοια μορφή με την καμπύλη του φορτίου της χώρας.</a:t>
            </a:r>
            <a:endParaRPr lang="en-US" sz="1200"/>
          </a:p>
        </p:txBody>
      </p:sp>
      <p:sp>
        <p:nvSpPr>
          <p:cNvPr id="21" name="TextBox 20">
            <a:extLst>
              <a:ext uri="{FF2B5EF4-FFF2-40B4-BE49-F238E27FC236}">
                <a16:creationId xmlns:a16="http://schemas.microsoft.com/office/drawing/2014/main" id="{A3DC5169-EC59-72D1-417C-3C95821B1D52}"/>
              </a:ext>
            </a:extLst>
          </p:cNvPr>
          <p:cNvSpPr txBox="1"/>
          <p:nvPr/>
        </p:nvSpPr>
        <p:spPr>
          <a:xfrm>
            <a:off x="161763" y="4156504"/>
            <a:ext cx="2282331" cy="1384995"/>
          </a:xfrm>
          <a:prstGeom prst="rect">
            <a:avLst/>
          </a:prstGeom>
          <a:solidFill>
            <a:srgbClr val="D5E2FF"/>
          </a:solidFill>
          <a:ln>
            <a:solidFill>
              <a:schemeClr val="accent2"/>
            </a:solidFill>
          </a:ln>
        </p:spPr>
        <p:txBody>
          <a:bodyPr wrap="square">
            <a:spAutoFit/>
          </a:bodyPr>
          <a:lstStyle/>
          <a:p>
            <a:pPr algn="ctr"/>
            <a:r>
              <a:rPr lang="el-GR" sz="1200"/>
              <a:t>Οι ώρες εμφάνισης περικοπών στην Ελλάδα, σε σχέση με τον μέσο όρο της ΕΕ27, είναι ελαφρώς μετατοπισμένες προς τις πρώτες ώρες της ημέρας, με μέγιστη ένταση γύρω στις 11:00–12:00.</a:t>
            </a:r>
            <a:endParaRPr lang="en-US" sz="1200"/>
          </a:p>
        </p:txBody>
      </p:sp>
      <p:sp>
        <p:nvSpPr>
          <p:cNvPr id="23" name="TextBox 22">
            <a:extLst>
              <a:ext uri="{FF2B5EF4-FFF2-40B4-BE49-F238E27FC236}">
                <a16:creationId xmlns:a16="http://schemas.microsoft.com/office/drawing/2014/main" id="{CF643591-09F7-84D7-E67F-615CE5D8F69E}"/>
              </a:ext>
            </a:extLst>
          </p:cNvPr>
          <p:cNvSpPr txBox="1"/>
          <p:nvPr/>
        </p:nvSpPr>
        <p:spPr>
          <a:xfrm>
            <a:off x="327619" y="2143365"/>
            <a:ext cx="1813692" cy="1384995"/>
          </a:xfrm>
          <a:prstGeom prst="rect">
            <a:avLst/>
          </a:prstGeom>
          <a:solidFill>
            <a:srgbClr val="D5E2FF"/>
          </a:solidFill>
          <a:ln>
            <a:solidFill>
              <a:schemeClr val="accent2"/>
            </a:solidFill>
          </a:ln>
        </p:spPr>
        <p:txBody>
          <a:bodyPr wrap="square">
            <a:spAutoFit/>
          </a:bodyPr>
          <a:lstStyle/>
          <a:p>
            <a:pPr algn="ctr"/>
            <a:r>
              <a:rPr lang="el-GR" sz="1200"/>
              <a:t>Το προφίλ φορτίου της χώρας παρουσιάζει σχεδόν πλήρη ταύτιση με την καμπύλη της συμβατικής παραγωγής (λιγνίτης και φυσικό αέριο).</a:t>
            </a:r>
          </a:p>
        </p:txBody>
      </p:sp>
      <p:sp>
        <p:nvSpPr>
          <p:cNvPr id="27" name="TextBox 26">
            <a:extLst>
              <a:ext uri="{FF2B5EF4-FFF2-40B4-BE49-F238E27FC236}">
                <a16:creationId xmlns:a16="http://schemas.microsoft.com/office/drawing/2014/main" id="{D0DA5267-1F5C-FE76-39EC-A2854FFFC219}"/>
              </a:ext>
            </a:extLst>
          </p:cNvPr>
          <p:cNvSpPr txBox="1"/>
          <p:nvPr/>
        </p:nvSpPr>
        <p:spPr>
          <a:xfrm>
            <a:off x="7625862" y="3535013"/>
            <a:ext cx="4238519" cy="246221"/>
          </a:xfrm>
          <a:prstGeom prst="rect">
            <a:avLst/>
          </a:prstGeom>
          <a:noFill/>
        </p:spPr>
        <p:txBody>
          <a:bodyPr wrap="square">
            <a:spAutoFit/>
          </a:bodyPr>
          <a:lstStyle/>
          <a:p>
            <a:r>
              <a:rPr lang="el-GR" sz="1000" spc="-11">
                <a:solidFill>
                  <a:srgbClr val="0F55F5"/>
                </a:solidFill>
              </a:rPr>
              <a:t>Περικοπές ενέργειας από ΑΠΕ στην Ελλάδα (GW</a:t>
            </a:r>
            <a:r>
              <a:rPr lang="en-US" sz="1000" spc="-11">
                <a:solidFill>
                  <a:srgbClr val="0F55F5"/>
                </a:solidFill>
              </a:rPr>
              <a:t>h</a:t>
            </a:r>
            <a:r>
              <a:rPr lang="el-GR" sz="1000" spc="-11">
                <a:solidFill>
                  <a:srgbClr val="0F55F5"/>
                </a:solidFill>
              </a:rPr>
              <a:t>), [2024]</a:t>
            </a:r>
            <a:endParaRPr lang="en-US" sz="1000" spc="-11">
              <a:solidFill>
                <a:srgbClr val="0F55F5"/>
              </a:solidFill>
            </a:endParaRPr>
          </a:p>
        </p:txBody>
      </p:sp>
      <p:pic>
        <p:nvPicPr>
          <p:cNvPr id="31" name="Picture 30">
            <a:extLst>
              <a:ext uri="{FF2B5EF4-FFF2-40B4-BE49-F238E27FC236}">
                <a16:creationId xmlns:a16="http://schemas.microsoft.com/office/drawing/2014/main" id="{D9D8F8A8-A703-6C49-BCE8-F3139C1A9102}"/>
              </a:ext>
            </a:extLst>
          </p:cNvPr>
          <p:cNvPicPr>
            <a:picLocks noChangeAspect="1"/>
          </p:cNvPicPr>
          <p:nvPr/>
        </p:nvPicPr>
        <p:blipFill>
          <a:blip r:embed="rId5"/>
          <a:srcRect t="11243"/>
          <a:stretch/>
        </p:blipFill>
        <p:spPr>
          <a:xfrm>
            <a:off x="6763880" y="1336948"/>
            <a:ext cx="4985208" cy="1970504"/>
          </a:xfrm>
          <a:prstGeom prst="rect">
            <a:avLst/>
          </a:prstGeom>
        </p:spPr>
      </p:pic>
      <p:sp>
        <p:nvSpPr>
          <p:cNvPr id="32" name="TextBox 31">
            <a:extLst>
              <a:ext uri="{FF2B5EF4-FFF2-40B4-BE49-F238E27FC236}">
                <a16:creationId xmlns:a16="http://schemas.microsoft.com/office/drawing/2014/main" id="{53D780D3-2EAD-D586-F886-9479CA3E4E9D}"/>
              </a:ext>
            </a:extLst>
          </p:cNvPr>
          <p:cNvSpPr txBox="1"/>
          <p:nvPr/>
        </p:nvSpPr>
        <p:spPr>
          <a:xfrm>
            <a:off x="7043118" y="964947"/>
            <a:ext cx="4705970" cy="246221"/>
          </a:xfrm>
          <a:prstGeom prst="rect">
            <a:avLst/>
          </a:prstGeom>
          <a:noFill/>
        </p:spPr>
        <p:txBody>
          <a:bodyPr wrap="square">
            <a:spAutoFit/>
          </a:bodyPr>
          <a:lstStyle/>
          <a:p>
            <a:pPr algn="ctr"/>
            <a:r>
              <a:rPr lang="el-GR" sz="1000" spc="-11">
                <a:solidFill>
                  <a:srgbClr val="0F55F5"/>
                </a:solidFill>
              </a:rPr>
              <a:t>Περικοπές ενέργειας (</a:t>
            </a:r>
            <a:r>
              <a:rPr lang="en-US" sz="1000" spc="-11">
                <a:solidFill>
                  <a:srgbClr val="0F55F5"/>
                </a:solidFill>
              </a:rPr>
              <a:t>TWh) </a:t>
            </a:r>
            <a:r>
              <a:rPr lang="el-GR" sz="1000" spc="-11">
                <a:solidFill>
                  <a:srgbClr val="0F55F5"/>
                </a:solidFill>
              </a:rPr>
              <a:t>ανά μήνα στην Ε27, [Ιαν 2024 – Οκτ 2024]</a:t>
            </a:r>
            <a:endParaRPr lang="en-US" sz="1000" spc="-11">
              <a:solidFill>
                <a:srgbClr val="0F55F5"/>
              </a:solidFill>
            </a:endParaRPr>
          </a:p>
        </p:txBody>
      </p:sp>
      <p:sp>
        <p:nvSpPr>
          <p:cNvPr id="3" name="TextBox 2">
            <a:extLst>
              <a:ext uri="{FF2B5EF4-FFF2-40B4-BE49-F238E27FC236}">
                <a16:creationId xmlns:a16="http://schemas.microsoft.com/office/drawing/2014/main" id="{5D5682E0-6329-B807-1190-2E2FE9CF2ACD}"/>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Eurostat, </a:t>
            </a:r>
            <a:r>
              <a:rPr lang="el-GR" sz="1200"/>
              <a:t>ΑΔΜΗΕ, </a:t>
            </a:r>
            <a:r>
              <a:rPr lang="en-US" sz="1200"/>
              <a:t>HAEE’s analysis</a:t>
            </a:r>
          </a:p>
        </p:txBody>
      </p:sp>
      <p:graphicFrame>
        <p:nvGraphicFramePr>
          <p:cNvPr id="8" name="Chart 7">
            <a:extLst>
              <a:ext uri="{FF2B5EF4-FFF2-40B4-BE49-F238E27FC236}">
                <a16:creationId xmlns:a16="http://schemas.microsoft.com/office/drawing/2014/main" id="{66538CD8-5370-41B0-A130-99AEA3ED8EE0}"/>
              </a:ext>
            </a:extLst>
          </p:cNvPr>
          <p:cNvGraphicFramePr>
            <a:graphicFrameLocks/>
          </p:cNvGraphicFramePr>
          <p:nvPr>
            <p:extLst>
              <p:ext uri="{D42A27DB-BD31-4B8C-83A1-F6EECF244321}">
                <p14:modId xmlns:p14="http://schemas.microsoft.com/office/powerpoint/2010/main" val="4098007684"/>
              </p:ext>
            </p:extLst>
          </p:nvPr>
        </p:nvGraphicFramePr>
        <p:xfrm>
          <a:off x="6763880" y="3658124"/>
          <a:ext cx="4851238" cy="246940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5914148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5A60B46-07BF-9112-EC21-3B0B09FF7B6B}"/>
              </a:ext>
            </a:extLst>
          </p:cNvPr>
          <p:cNvSpPr>
            <a:spLocks noGrp="1"/>
          </p:cNvSpPr>
          <p:nvPr>
            <p:ph type="title"/>
          </p:nvPr>
        </p:nvSpPr>
        <p:spPr>
          <a:xfrm>
            <a:off x="1233362" y="2065896"/>
            <a:ext cx="8136000" cy="646331"/>
          </a:xfrm>
        </p:spPr>
        <p:txBody>
          <a:bodyPr/>
          <a:lstStyle/>
          <a:p>
            <a:r>
              <a:rPr lang="en-US"/>
              <a:t>H </a:t>
            </a:r>
            <a:r>
              <a:rPr lang="el-GR"/>
              <a:t>Αγορά της αποθήκευσης</a:t>
            </a:r>
            <a:endParaRPr lang="en-US"/>
          </a:p>
        </p:txBody>
      </p:sp>
      <p:sp>
        <p:nvSpPr>
          <p:cNvPr id="3" name="Date Placeholder 2" hidden="1">
            <a:extLst>
              <a:ext uri="{FF2B5EF4-FFF2-40B4-BE49-F238E27FC236}">
                <a16:creationId xmlns:a16="http://schemas.microsoft.com/office/drawing/2014/main" id="{F37BBC27-558B-D9B8-EA9E-7FA00AA50E95}"/>
              </a:ext>
            </a:extLst>
          </p:cNvPr>
          <p:cNvSpPr>
            <a:spLocks noGrp="1"/>
          </p:cNvSpPr>
          <p:nvPr>
            <p:ph type="dt" sz="half" idx="4294967295"/>
          </p:nvPr>
        </p:nvSpPr>
        <p:spPr>
          <a:xfrm>
            <a:off x="11471275" y="6259513"/>
            <a:ext cx="720725" cy="153987"/>
          </a:xfrm>
        </p:spPr>
        <p:txBody>
          <a:bodyPr/>
          <a:lstStyle/>
          <a:p>
            <a:pPr>
              <a:spcAft>
                <a:spcPts val="600"/>
              </a:spcAft>
            </a:pPr>
            <a:fld id="{D91EECA1-CDD8-4918-8BBA-1AE2701A1BC0}" type="datetime1">
              <a:rPr lang="en-GB" smtClean="0"/>
              <a:pPr>
                <a:spcAft>
                  <a:spcPts val="600"/>
                </a:spcAft>
              </a:pPr>
              <a:t>06/06/2025</a:t>
            </a:fld>
            <a:endParaRPr lang="en-US"/>
          </a:p>
        </p:txBody>
      </p:sp>
      <p:sp>
        <p:nvSpPr>
          <p:cNvPr id="5" name="Slide Number Placeholder 4" hidden="1">
            <a:extLst>
              <a:ext uri="{FF2B5EF4-FFF2-40B4-BE49-F238E27FC236}">
                <a16:creationId xmlns:a16="http://schemas.microsoft.com/office/drawing/2014/main" id="{F184E804-3739-BED6-F566-F2322B7A6862}"/>
              </a:ext>
            </a:extLst>
          </p:cNvPr>
          <p:cNvSpPr>
            <a:spLocks noGrp="1"/>
          </p:cNvSpPr>
          <p:nvPr>
            <p:ph type="sldNum" sz="quarter" idx="4294967295"/>
          </p:nvPr>
        </p:nvSpPr>
        <p:spPr>
          <a:xfrm>
            <a:off x="0" y="6259513"/>
            <a:ext cx="252413" cy="153987"/>
          </a:xfrm>
        </p:spPr>
        <p:txBody>
          <a:bodyPr/>
          <a:lstStyle/>
          <a:p>
            <a:pPr>
              <a:spcAft>
                <a:spcPts val="600"/>
              </a:spcAft>
            </a:pPr>
            <a:fld id="{4531D9DC-ADF0-4D0A-8902-0133E3C6D94B}" type="slidenum">
              <a:rPr lang="en-US" smtClean="0"/>
              <a:pPr>
                <a:spcAft>
                  <a:spcPts val="600"/>
                </a:spcAft>
              </a:pPr>
              <a:t>23</a:t>
            </a:fld>
            <a:endParaRPr lang="en-US"/>
          </a:p>
        </p:txBody>
      </p:sp>
    </p:spTree>
    <p:extLst>
      <p:ext uri="{BB962C8B-B14F-4D97-AF65-F5344CB8AC3E}">
        <p14:creationId xmlns:p14="http://schemas.microsoft.com/office/powerpoint/2010/main" val="13091483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5A08C-5115-9D7C-4C1A-25AB3E15901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1206034-BB6B-A8A2-4E42-99A3EBFAE45E}"/>
              </a:ext>
            </a:extLst>
          </p:cNvPr>
          <p:cNvSpPr>
            <a:spLocks noGrp="1"/>
          </p:cNvSpPr>
          <p:nvPr>
            <p:ph type="title"/>
          </p:nvPr>
        </p:nvSpPr>
        <p:spPr>
          <a:xfrm>
            <a:off x="443372" y="379660"/>
            <a:ext cx="11305716" cy="492443"/>
          </a:xfrm>
        </p:spPr>
        <p:txBody>
          <a:bodyPr/>
          <a:lstStyle/>
          <a:p>
            <a:r>
              <a:rPr lang="el-GR">
                <a:solidFill>
                  <a:srgbClr val="0F55F5"/>
                </a:solidFill>
              </a:rPr>
              <a:t> Άδειες</a:t>
            </a:r>
            <a:r>
              <a:rPr lang="en-US">
                <a:solidFill>
                  <a:srgbClr val="0F55F5"/>
                </a:solidFill>
              </a:rPr>
              <a:t> </a:t>
            </a:r>
            <a:r>
              <a:rPr lang="el-GR">
                <a:solidFill>
                  <a:srgbClr val="0F55F5"/>
                </a:solidFill>
              </a:rPr>
              <a:t>αποθήκευσης στην Ελλάδα</a:t>
            </a:r>
            <a:endParaRPr lang="en-US">
              <a:solidFill>
                <a:srgbClr val="0F55F5"/>
              </a:solidFill>
            </a:endParaRPr>
          </a:p>
        </p:txBody>
      </p:sp>
      <p:sp>
        <p:nvSpPr>
          <p:cNvPr id="11" name="TextBox 10">
            <a:extLst>
              <a:ext uri="{FF2B5EF4-FFF2-40B4-BE49-F238E27FC236}">
                <a16:creationId xmlns:a16="http://schemas.microsoft.com/office/drawing/2014/main" id="{B192796C-ABC8-5841-927A-B9F583C9A6E8}"/>
              </a:ext>
            </a:extLst>
          </p:cNvPr>
          <p:cNvSpPr txBox="1"/>
          <p:nvPr/>
        </p:nvSpPr>
        <p:spPr>
          <a:xfrm>
            <a:off x="461200" y="919234"/>
            <a:ext cx="6984896" cy="338554"/>
          </a:xfrm>
          <a:prstGeom prst="rect">
            <a:avLst/>
          </a:prstGeom>
          <a:noFill/>
        </p:spPr>
        <p:txBody>
          <a:bodyPr wrap="square">
            <a:spAutoFit/>
          </a:bodyPr>
          <a:lstStyle/>
          <a:p>
            <a:r>
              <a:rPr lang="el-GR" sz="1600" spc="-11">
                <a:solidFill>
                  <a:srgbClr val="0F55F5"/>
                </a:solidFill>
              </a:rPr>
              <a:t>Άδειες ανά Τεχνολογία ανά τρίμηνο (</a:t>
            </a:r>
            <a:r>
              <a:rPr lang="en-US" sz="1600" spc="-11">
                <a:solidFill>
                  <a:srgbClr val="0F55F5"/>
                </a:solidFill>
              </a:rPr>
              <a:t>MW)</a:t>
            </a:r>
            <a:r>
              <a:rPr lang="el-GR" sz="1600" spc="-11">
                <a:solidFill>
                  <a:srgbClr val="0F55F5"/>
                </a:solidFill>
              </a:rPr>
              <a:t> </a:t>
            </a:r>
            <a:r>
              <a:rPr lang="en-US" sz="1600" spc="-11">
                <a:solidFill>
                  <a:srgbClr val="0F55F5"/>
                </a:solidFill>
              </a:rPr>
              <a:t>, 2021</a:t>
            </a:r>
            <a:r>
              <a:rPr lang="el-GR" sz="1600" spc="-11">
                <a:solidFill>
                  <a:srgbClr val="0F55F5"/>
                </a:solidFill>
              </a:rPr>
              <a:t>-</a:t>
            </a:r>
            <a:r>
              <a:rPr lang="en-US" sz="1600" spc="-11">
                <a:solidFill>
                  <a:srgbClr val="0F55F5"/>
                </a:solidFill>
              </a:rPr>
              <a:t>Q1 </a:t>
            </a:r>
            <a:r>
              <a:rPr lang="el-GR" sz="1600" spc="-11">
                <a:solidFill>
                  <a:srgbClr val="0F55F5"/>
                </a:solidFill>
              </a:rPr>
              <a:t>202</a:t>
            </a:r>
            <a:r>
              <a:rPr lang="en-US" sz="1600" spc="-11">
                <a:solidFill>
                  <a:srgbClr val="0F55F5"/>
                </a:solidFill>
              </a:rPr>
              <a:t>5</a:t>
            </a:r>
            <a:endParaRPr lang="en-US">
              <a:solidFill>
                <a:srgbClr val="0F55F5"/>
              </a:solidFill>
            </a:endParaRPr>
          </a:p>
        </p:txBody>
      </p:sp>
      <p:sp>
        <p:nvSpPr>
          <p:cNvPr id="15" name="Rectangle 14">
            <a:extLst>
              <a:ext uri="{FF2B5EF4-FFF2-40B4-BE49-F238E27FC236}">
                <a16:creationId xmlns:a16="http://schemas.microsoft.com/office/drawing/2014/main" id="{9111EEEA-9C57-45FE-C349-366D084F745B}"/>
              </a:ext>
            </a:extLst>
          </p:cNvPr>
          <p:cNvSpPr/>
          <p:nvPr/>
        </p:nvSpPr>
        <p:spPr>
          <a:xfrm>
            <a:off x="8302425" y="1187025"/>
            <a:ext cx="2320290" cy="525780"/>
          </a:xfrm>
          <a:prstGeom prst="rect">
            <a:avLst/>
          </a:prstGeom>
          <a:solidFill>
            <a:srgbClr val="0F55F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tx1"/>
                </a:solidFill>
              </a:rPr>
              <a:t>Σύνολο 57.</a:t>
            </a:r>
            <a:r>
              <a:rPr lang="en-US" b="1">
                <a:solidFill>
                  <a:schemeClr val="tx1"/>
                </a:solidFill>
              </a:rPr>
              <a:t>8</a:t>
            </a:r>
            <a:r>
              <a:rPr lang="el-GR" b="1">
                <a:solidFill>
                  <a:schemeClr val="tx1"/>
                </a:solidFill>
              </a:rPr>
              <a:t> </a:t>
            </a:r>
            <a:r>
              <a:rPr lang="en-US" b="1">
                <a:solidFill>
                  <a:schemeClr val="tx1"/>
                </a:solidFill>
              </a:rPr>
              <a:t>GW</a:t>
            </a:r>
          </a:p>
        </p:txBody>
      </p:sp>
      <p:graphicFrame>
        <p:nvGraphicFramePr>
          <p:cNvPr id="2" name="Chart 1">
            <a:extLst>
              <a:ext uri="{FF2B5EF4-FFF2-40B4-BE49-F238E27FC236}">
                <a16:creationId xmlns:a16="http://schemas.microsoft.com/office/drawing/2014/main" id="{56475DD0-D5E5-2B91-BEC0-E50DC07F770C}"/>
              </a:ext>
            </a:extLst>
          </p:cNvPr>
          <p:cNvGraphicFramePr>
            <a:graphicFrameLocks/>
          </p:cNvGraphicFramePr>
          <p:nvPr>
            <p:extLst>
              <p:ext uri="{D42A27DB-BD31-4B8C-83A1-F6EECF244321}">
                <p14:modId xmlns:p14="http://schemas.microsoft.com/office/powerpoint/2010/main" val="2159690220"/>
              </p:ext>
            </p:extLst>
          </p:nvPr>
        </p:nvGraphicFramePr>
        <p:xfrm>
          <a:off x="548640" y="1347669"/>
          <a:ext cx="11200447" cy="255681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D388247B-7C15-7704-2B1F-818523F7E77D}"/>
              </a:ext>
            </a:extLst>
          </p:cNvPr>
          <p:cNvSpPr txBox="1"/>
          <p:nvPr/>
        </p:nvSpPr>
        <p:spPr>
          <a:xfrm>
            <a:off x="7648285" y="6432541"/>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b="0">
                <a:solidFill>
                  <a:schemeClr val="tx1"/>
                </a:solidFill>
              </a:rPr>
              <a:t>ΡΑΑΕΥ</a:t>
            </a:r>
            <a:r>
              <a:rPr lang="en-US" sz="1200" b="0">
                <a:solidFill>
                  <a:schemeClr val="tx1"/>
                </a:solidFill>
              </a:rPr>
              <a:t>, HAEE’s Analysis</a:t>
            </a:r>
            <a:endParaRPr lang="en-US" sz="1200"/>
          </a:p>
        </p:txBody>
      </p:sp>
      <p:graphicFrame>
        <p:nvGraphicFramePr>
          <p:cNvPr id="3" name="Chart 2">
            <a:extLst>
              <a:ext uri="{FF2B5EF4-FFF2-40B4-BE49-F238E27FC236}">
                <a16:creationId xmlns:a16="http://schemas.microsoft.com/office/drawing/2014/main" id="{3DA11CD7-2F03-1E65-FDC1-D5B5539937D1}"/>
              </a:ext>
            </a:extLst>
          </p:cNvPr>
          <p:cNvGraphicFramePr>
            <a:graphicFrameLocks/>
          </p:cNvGraphicFramePr>
          <p:nvPr>
            <p:extLst>
              <p:ext uri="{D42A27DB-BD31-4B8C-83A1-F6EECF244321}">
                <p14:modId xmlns:p14="http://schemas.microsoft.com/office/powerpoint/2010/main" val="2369414701"/>
              </p:ext>
            </p:extLst>
          </p:nvPr>
        </p:nvGraphicFramePr>
        <p:xfrm>
          <a:off x="177846" y="4319341"/>
          <a:ext cx="11828226" cy="190147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D72385AE-2472-3045-888C-2AB19E88CBD9}"/>
              </a:ext>
            </a:extLst>
          </p:cNvPr>
          <p:cNvSpPr txBox="1"/>
          <p:nvPr/>
        </p:nvSpPr>
        <p:spPr>
          <a:xfrm>
            <a:off x="548640" y="3926590"/>
            <a:ext cx="10415016" cy="338554"/>
          </a:xfrm>
          <a:prstGeom prst="rect">
            <a:avLst/>
          </a:prstGeom>
          <a:noFill/>
        </p:spPr>
        <p:txBody>
          <a:bodyPr wrap="square">
            <a:spAutoFit/>
          </a:bodyPr>
          <a:lstStyle/>
          <a:p>
            <a:r>
              <a:rPr lang="el-GR" sz="1600" spc="-11">
                <a:solidFill>
                  <a:srgbClr val="0F55F5"/>
                </a:solidFill>
              </a:rPr>
              <a:t>Προβλέψεις Δυναμικότητας Αποθήκευσης για Ηλεκτροπαραγωγή στην Ελλάδα (</a:t>
            </a:r>
            <a:r>
              <a:rPr lang="en-US" sz="1600" spc="-11">
                <a:solidFill>
                  <a:srgbClr val="0F55F5"/>
                </a:solidFill>
              </a:rPr>
              <a:t>MW), 2025-2050</a:t>
            </a:r>
            <a:endParaRPr lang="en-US">
              <a:solidFill>
                <a:srgbClr val="0F55F5"/>
              </a:solidFill>
            </a:endParaRPr>
          </a:p>
        </p:txBody>
      </p:sp>
    </p:spTree>
    <p:extLst>
      <p:ext uri="{BB962C8B-B14F-4D97-AF65-F5344CB8AC3E}">
        <p14:creationId xmlns:p14="http://schemas.microsoft.com/office/powerpoint/2010/main" val="11283188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56F41B-7B48-3FF5-EE13-923D18B6B56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B5AE180-7B08-28BF-37FE-7F0D15F768F7}"/>
              </a:ext>
            </a:extLst>
          </p:cNvPr>
          <p:cNvSpPr>
            <a:spLocks noGrp="1"/>
          </p:cNvSpPr>
          <p:nvPr>
            <p:ph type="title"/>
          </p:nvPr>
        </p:nvSpPr>
        <p:spPr>
          <a:xfrm>
            <a:off x="443372" y="379660"/>
            <a:ext cx="11305716" cy="492443"/>
          </a:xfrm>
        </p:spPr>
        <p:txBody>
          <a:bodyPr/>
          <a:lstStyle/>
          <a:p>
            <a:r>
              <a:rPr lang="el-GR">
                <a:solidFill>
                  <a:srgbClr val="0F55F5"/>
                </a:solidFill>
              </a:rPr>
              <a:t>Τύποι Τεχνολογιών Αποθήκευσης</a:t>
            </a:r>
            <a:endParaRPr lang="en-US">
              <a:solidFill>
                <a:srgbClr val="0F55F5"/>
              </a:solidFill>
            </a:endParaRPr>
          </a:p>
        </p:txBody>
      </p:sp>
      <p:sp>
        <p:nvSpPr>
          <p:cNvPr id="18" name="Rectangle 17">
            <a:extLst>
              <a:ext uri="{FF2B5EF4-FFF2-40B4-BE49-F238E27FC236}">
                <a16:creationId xmlns:a16="http://schemas.microsoft.com/office/drawing/2014/main" id="{0B7B34EA-3BF1-28FA-A58C-ACCA216E8601}"/>
              </a:ext>
            </a:extLst>
          </p:cNvPr>
          <p:cNvSpPr/>
          <p:nvPr/>
        </p:nvSpPr>
        <p:spPr>
          <a:xfrm>
            <a:off x="279042" y="1114023"/>
            <a:ext cx="3554569" cy="508286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ts val="2100"/>
              </a:lnSpc>
              <a:spcBef>
                <a:spcPts val="975"/>
              </a:spcBef>
              <a:spcAft>
                <a:spcPts val="225"/>
              </a:spcAft>
            </a:pPr>
            <a:r>
              <a:rPr lang="el-GR" sz="1400" b="1">
                <a:solidFill>
                  <a:schemeClr val="accent1"/>
                </a:solidFill>
                <a:latin typeface="+mj-lt"/>
              </a:rPr>
              <a:t>Βραχυπρόθεσμη</a:t>
            </a:r>
            <a:r>
              <a:rPr lang="el-GR" sz="1400" b="1" i="0">
                <a:solidFill>
                  <a:schemeClr val="accent1"/>
                </a:solidFill>
                <a:effectLst/>
                <a:latin typeface="+mj-lt"/>
              </a:rPr>
              <a:t> Αποθήκευση Ενέργειας</a:t>
            </a:r>
          </a:p>
          <a:p>
            <a:pPr marL="285750" indent="-285750">
              <a:lnSpc>
                <a:spcPts val="2100"/>
              </a:lnSpc>
              <a:spcBef>
                <a:spcPts val="975"/>
              </a:spcBef>
              <a:spcAft>
                <a:spcPts val="225"/>
              </a:spcAft>
              <a:buFont typeface="Arial" panose="020B0604020202020204" pitchFamily="34" charset="0"/>
              <a:buChar char="•"/>
            </a:pPr>
            <a:r>
              <a:rPr lang="el-GR" sz="1200">
                <a:solidFill>
                  <a:schemeClr val="accent1"/>
                </a:solidFill>
                <a:latin typeface="+mj-lt"/>
              </a:rPr>
              <a:t>Χρονική διάρκεια λεπτά έως λίγες ώρες</a:t>
            </a:r>
            <a:r>
              <a:rPr lang="el-GR" sz="1200" i="0">
                <a:solidFill>
                  <a:schemeClr val="accent1"/>
                </a:solidFill>
                <a:effectLst/>
                <a:latin typeface="+mj-lt"/>
              </a:rPr>
              <a:t> </a:t>
            </a:r>
          </a:p>
          <a:p>
            <a:pPr marL="285750" indent="-285750">
              <a:lnSpc>
                <a:spcPts val="2100"/>
              </a:lnSpc>
              <a:spcBef>
                <a:spcPts val="975"/>
              </a:spcBef>
              <a:spcAft>
                <a:spcPts val="225"/>
              </a:spcAft>
              <a:buFont typeface="Arial" panose="020B0604020202020204" pitchFamily="34" charset="0"/>
              <a:buChar char="•"/>
            </a:pPr>
            <a:r>
              <a:rPr lang="el-GR" sz="1200">
                <a:solidFill>
                  <a:schemeClr val="accent1"/>
                </a:solidFill>
                <a:latin typeface="+mj-lt"/>
              </a:rPr>
              <a:t>Συστήματα γρήγορης απόκρισης</a:t>
            </a:r>
          </a:p>
          <a:p>
            <a:pPr marL="285750" indent="-285750">
              <a:lnSpc>
                <a:spcPts val="2100"/>
              </a:lnSpc>
              <a:spcBef>
                <a:spcPts val="975"/>
              </a:spcBef>
              <a:spcAft>
                <a:spcPts val="225"/>
              </a:spcAft>
              <a:buFont typeface="Arial" panose="020B0604020202020204" pitchFamily="34" charset="0"/>
              <a:buChar char="•"/>
            </a:pPr>
            <a:r>
              <a:rPr lang="el-GR" sz="1200" i="0">
                <a:solidFill>
                  <a:schemeClr val="accent1"/>
                </a:solidFill>
                <a:effectLst/>
                <a:latin typeface="+mj-lt"/>
              </a:rPr>
              <a:t>Χρήση για </a:t>
            </a:r>
            <a:r>
              <a:rPr lang="el-GR" sz="1200">
                <a:solidFill>
                  <a:schemeClr val="accent1"/>
                </a:solidFill>
                <a:latin typeface="+mj-lt"/>
              </a:rPr>
              <a:t>ρύθμιση συχνότητας και υποστήριξη τάσης</a:t>
            </a:r>
          </a:p>
          <a:p>
            <a:pPr marL="285750" indent="-285750">
              <a:lnSpc>
                <a:spcPts val="2100"/>
              </a:lnSpc>
              <a:spcBef>
                <a:spcPts val="975"/>
              </a:spcBef>
              <a:spcAft>
                <a:spcPts val="225"/>
              </a:spcAft>
              <a:buFont typeface="Wingdings" panose="05000000000000000000" pitchFamily="2" charset="2"/>
              <a:buChar char="ü"/>
            </a:pPr>
            <a:endParaRPr lang="el-GR" sz="1200" b="1" i="0">
              <a:solidFill>
                <a:schemeClr val="accent1"/>
              </a:solidFill>
              <a:effectLst/>
              <a:latin typeface="+mj-lt"/>
            </a:endParaRPr>
          </a:p>
        </p:txBody>
      </p:sp>
      <p:sp>
        <p:nvSpPr>
          <p:cNvPr id="19" name="Rectangle 18">
            <a:extLst>
              <a:ext uri="{FF2B5EF4-FFF2-40B4-BE49-F238E27FC236}">
                <a16:creationId xmlns:a16="http://schemas.microsoft.com/office/drawing/2014/main" id="{86EEF59E-88C1-D8F5-2021-559F7772DAD4}"/>
              </a:ext>
            </a:extLst>
          </p:cNvPr>
          <p:cNvSpPr/>
          <p:nvPr/>
        </p:nvSpPr>
        <p:spPr>
          <a:xfrm>
            <a:off x="8437808" y="1114023"/>
            <a:ext cx="3554569" cy="508286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ts val="2100"/>
              </a:lnSpc>
              <a:spcBef>
                <a:spcPts val="975"/>
              </a:spcBef>
              <a:spcAft>
                <a:spcPts val="225"/>
              </a:spcAft>
            </a:pPr>
            <a:r>
              <a:rPr lang="el-GR" sz="1400" b="1" i="0">
                <a:solidFill>
                  <a:schemeClr val="accent1"/>
                </a:solidFill>
                <a:effectLst/>
                <a:latin typeface="+mj-lt"/>
              </a:rPr>
              <a:t>Μακροπρόθεσμη Αποθήκευση Ενέργειας</a:t>
            </a:r>
          </a:p>
          <a:p>
            <a:pPr marL="285750" indent="-285750">
              <a:lnSpc>
                <a:spcPts val="2100"/>
              </a:lnSpc>
              <a:spcBef>
                <a:spcPts val="975"/>
              </a:spcBef>
              <a:spcAft>
                <a:spcPts val="225"/>
              </a:spcAft>
              <a:buFont typeface="Arial" panose="020B0604020202020204" pitchFamily="34" charset="0"/>
              <a:buChar char="•"/>
            </a:pPr>
            <a:r>
              <a:rPr lang="el-GR" sz="1200">
                <a:solidFill>
                  <a:schemeClr val="accent1"/>
                </a:solidFill>
                <a:latin typeface="+mj-lt"/>
              </a:rPr>
              <a:t>Χρονική διάρκεια </a:t>
            </a:r>
            <a:r>
              <a:rPr lang="el-GR" sz="1200" i="0">
                <a:solidFill>
                  <a:schemeClr val="accent1"/>
                </a:solidFill>
                <a:effectLst/>
                <a:latin typeface="+mj-lt"/>
              </a:rPr>
              <a:t>μήνες έως χρόνια</a:t>
            </a:r>
          </a:p>
          <a:p>
            <a:pPr marL="285750" indent="-285750">
              <a:lnSpc>
                <a:spcPts val="2100"/>
              </a:lnSpc>
              <a:spcBef>
                <a:spcPts val="975"/>
              </a:spcBef>
              <a:spcAft>
                <a:spcPts val="225"/>
              </a:spcAft>
              <a:buFont typeface="Arial" panose="020B0604020202020204" pitchFamily="34" charset="0"/>
              <a:buChar char="•"/>
            </a:pPr>
            <a:r>
              <a:rPr lang="el-GR" sz="1200" i="0">
                <a:solidFill>
                  <a:schemeClr val="accent1"/>
                </a:solidFill>
                <a:effectLst/>
                <a:latin typeface="+mj-lt"/>
              </a:rPr>
              <a:t>Χρήση για </a:t>
            </a:r>
            <a:r>
              <a:rPr lang="el-GR" sz="1200">
                <a:solidFill>
                  <a:schemeClr val="accent1"/>
                </a:solidFill>
                <a:latin typeface="+mj-lt"/>
              </a:rPr>
              <a:t>εποχιακή εξισορρόπηση σε περιόδους χαμηλής παραγωγής ΑΠΕ</a:t>
            </a:r>
          </a:p>
          <a:p>
            <a:pPr marL="285750" indent="-285750">
              <a:lnSpc>
                <a:spcPts val="2100"/>
              </a:lnSpc>
              <a:spcBef>
                <a:spcPts val="975"/>
              </a:spcBef>
              <a:spcAft>
                <a:spcPts val="225"/>
              </a:spcAft>
              <a:buFont typeface="Arial" panose="020B0604020202020204" pitchFamily="34" charset="0"/>
              <a:buChar char="•"/>
            </a:pPr>
            <a:endParaRPr lang="el-GR" sz="1200" i="0">
              <a:solidFill>
                <a:schemeClr val="accent1"/>
              </a:solidFill>
              <a:effectLst/>
              <a:latin typeface="+mj-lt"/>
            </a:endParaRPr>
          </a:p>
          <a:p>
            <a:pPr>
              <a:lnSpc>
                <a:spcPts val="2100"/>
              </a:lnSpc>
              <a:spcBef>
                <a:spcPts val="975"/>
              </a:spcBef>
              <a:spcAft>
                <a:spcPts val="225"/>
              </a:spcAft>
            </a:pPr>
            <a:endParaRPr lang="el-GR" sz="1200" b="1">
              <a:solidFill>
                <a:schemeClr val="accent1"/>
              </a:solidFill>
              <a:latin typeface="+mj-lt"/>
            </a:endParaRPr>
          </a:p>
          <a:p>
            <a:pPr algn="ctr">
              <a:lnSpc>
                <a:spcPts val="2100"/>
              </a:lnSpc>
              <a:spcBef>
                <a:spcPts val="975"/>
              </a:spcBef>
              <a:spcAft>
                <a:spcPts val="225"/>
              </a:spcAft>
            </a:pPr>
            <a:r>
              <a:rPr lang="el-GR" sz="1400" b="1" i="0">
                <a:solidFill>
                  <a:schemeClr val="accent1"/>
                </a:solidFill>
                <a:effectLst/>
                <a:latin typeface="+mj-lt"/>
              </a:rPr>
              <a:t> </a:t>
            </a:r>
          </a:p>
        </p:txBody>
      </p:sp>
      <p:sp>
        <p:nvSpPr>
          <p:cNvPr id="20" name="Rectangle 19">
            <a:extLst>
              <a:ext uri="{FF2B5EF4-FFF2-40B4-BE49-F238E27FC236}">
                <a16:creationId xmlns:a16="http://schemas.microsoft.com/office/drawing/2014/main" id="{0B107A2C-B571-EF9C-2F5A-6975634B121B}"/>
              </a:ext>
            </a:extLst>
          </p:cNvPr>
          <p:cNvSpPr/>
          <p:nvPr/>
        </p:nvSpPr>
        <p:spPr>
          <a:xfrm>
            <a:off x="4358425" y="1114023"/>
            <a:ext cx="3554569" cy="50828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ts val="2100"/>
              </a:lnSpc>
              <a:spcBef>
                <a:spcPts val="975"/>
              </a:spcBef>
              <a:spcAft>
                <a:spcPts val="225"/>
              </a:spcAft>
            </a:pPr>
            <a:r>
              <a:rPr lang="el-GR" sz="1400" b="1" i="0">
                <a:solidFill>
                  <a:schemeClr val="accent1"/>
                </a:solidFill>
                <a:effectLst/>
                <a:latin typeface="+mj-lt"/>
              </a:rPr>
              <a:t>Μεσοπρόθεσμη Αποθήκευση Ενέργειας</a:t>
            </a:r>
          </a:p>
          <a:p>
            <a:pPr marL="285750" indent="-285750">
              <a:lnSpc>
                <a:spcPts val="2100"/>
              </a:lnSpc>
              <a:spcBef>
                <a:spcPts val="975"/>
              </a:spcBef>
              <a:spcAft>
                <a:spcPts val="225"/>
              </a:spcAft>
              <a:buFont typeface="Arial" panose="020B0604020202020204" pitchFamily="34" charset="0"/>
              <a:buChar char="•"/>
            </a:pPr>
            <a:r>
              <a:rPr lang="el-GR" sz="1200">
                <a:solidFill>
                  <a:schemeClr val="accent1"/>
                </a:solidFill>
                <a:latin typeface="+mj-lt"/>
              </a:rPr>
              <a:t>Χρονική διάρκεια λίγες ώρες</a:t>
            </a:r>
            <a:r>
              <a:rPr lang="el-GR" sz="1200" i="0">
                <a:solidFill>
                  <a:schemeClr val="accent1"/>
                </a:solidFill>
                <a:effectLst/>
                <a:latin typeface="+mj-lt"/>
              </a:rPr>
              <a:t> έως μήνες</a:t>
            </a:r>
          </a:p>
          <a:p>
            <a:pPr marL="285750" indent="-285750">
              <a:lnSpc>
                <a:spcPts val="2100"/>
              </a:lnSpc>
              <a:spcBef>
                <a:spcPts val="975"/>
              </a:spcBef>
              <a:spcAft>
                <a:spcPts val="225"/>
              </a:spcAft>
              <a:buFont typeface="Arial" panose="020B0604020202020204" pitchFamily="34" charset="0"/>
              <a:buChar char="•"/>
            </a:pPr>
            <a:r>
              <a:rPr lang="el-GR" sz="1200" i="0">
                <a:solidFill>
                  <a:schemeClr val="accent1"/>
                </a:solidFill>
                <a:effectLst/>
                <a:latin typeface="+mj-lt"/>
              </a:rPr>
              <a:t>Χρήση για μετατόπιση φορτίου σε περιόδους χαμηλής ζήτησης αποθηκεύεται η πλεονάζουσα ενέργεια</a:t>
            </a:r>
            <a:endParaRPr lang="el-GR" sz="1200">
              <a:solidFill>
                <a:schemeClr val="accent1"/>
              </a:solidFill>
              <a:latin typeface="+mj-lt"/>
            </a:endParaRPr>
          </a:p>
          <a:p>
            <a:pPr marL="285750" indent="-285750">
              <a:lnSpc>
                <a:spcPts val="2100"/>
              </a:lnSpc>
              <a:spcBef>
                <a:spcPts val="975"/>
              </a:spcBef>
              <a:spcAft>
                <a:spcPts val="225"/>
              </a:spcAft>
              <a:buFont typeface="Arial" panose="020B0604020202020204" pitchFamily="34" charset="0"/>
              <a:buChar char="•"/>
            </a:pPr>
            <a:endParaRPr lang="el-GR" sz="1200" i="0">
              <a:solidFill>
                <a:schemeClr val="accent1"/>
              </a:solidFill>
              <a:effectLst/>
              <a:latin typeface="+mj-lt"/>
            </a:endParaRPr>
          </a:p>
          <a:p>
            <a:pPr algn="ctr">
              <a:lnSpc>
                <a:spcPts val="2100"/>
              </a:lnSpc>
              <a:spcBef>
                <a:spcPts val="975"/>
              </a:spcBef>
              <a:spcAft>
                <a:spcPts val="225"/>
              </a:spcAft>
            </a:pPr>
            <a:r>
              <a:rPr lang="el-GR" sz="1400" b="1" i="0">
                <a:solidFill>
                  <a:schemeClr val="accent1"/>
                </a:solidFill>
                <a:effectLst/>
                <a:latin typeface="+mj-lt"/>
              </a:rPr>
              <a:t> </a:t>
            </a:r>
          </a:p>
        </p:txBody>
      </p:sp>
      <p:sp>
        <p:nvSpPr>
          <p:cNvPr id="21" name="TextBox 20">
            <a:extLst>
              <a:ext uri="{FF2B5EF4-FFF2-40B4-BE49-F238E27FC236}">
                <a16:creationId xmlns:a16="http://schemas.microsoft.com/office/drawing/2014/main" id="{CC22A7C2-AED3-05B9-BFA9-6D44F0C3C066}"/>
              </a:ext>
            </a:extLst>
          </p:cNvPr>
          <p:cNvSpPr txBox="1"/>
          <p:nvPr/>
        </p:nvSpPr>
        <p:spPr>
          <a:xfrm>
            <a:off x="309093" y="3429000"/>
            <a:ext cx="3464417" cy="1933222"/>
          </a:xfrm>
          <a:prstGeom prst="rect">
            <a:avLst/>
          </a:prstGeom>
          <a:noFill/>
        </p:spPr>
        <p:txBody>
          <a:bodyPr wrap="square" lIns="0" tIns="0" rIns="0" bIns="0" rtlCol="0">
            <a:spAutoFit/>
          </a:bodyPr>
          <a:lstStyle/>
          <a:p>
            <a:pPr>
              <a:lnSpc>
                <a:spcPts val="2100"/>
              </a:lnSpc>
              <a:spcBef>
                <a:spcPts val="975"/>
              </a:spcBef>
              <a:spcAft>
                <a:spcPts val="225"/>
              </a:spcAft>
            </a:pPr>
            <a:r>
              <a:rPr lang="el-GR" sz="1200" b="1">
                <a:solidFill>
                  <a:schemeClr val="accent1"/>
                </a:solidFill>
                <a:latin typeface="+mj-lt"/>
              </a:rPr>
              <a:t>Παραδείγματα</a:t>
            </a:r>
          </a:p>
          <a:p>
            <a:pPr marL="171450" indent="-171450">
              <a:lnSpc>
                <a:spcPts val="2100"/>
              </a:lnSpc>
              <a:spcBef>
                <a:spcPts val="975"/>
              </a:spcBef>
              <a:spcAft>
                <a:spcPts val="225"/>
              </a:spcAft>
              <a:buFont typeface="Wingdings" panose="05000000000000000000" pitchFamily="2" charset="2"/>
              <a:buChar char="ü"/>
            </a:pPr>
            <a:r>
              <a:rPr lang="el-GR" sz="1200"/>
              <a:t>Συσσωρευτές </a:t>
            </a:r>
            <a:r>
              <a:rPr lang="el-GR" sz="1200" err="1"/>
              <a:t>μολύβδου</a:t>
            </a:r>
            <a:r>
              <a:rPr lang="el-GR" sz="1200"/>
              <a:t>-οξέος</a:t>
            </a:r>
          </a:p>
          <a:p>
            <a:pPr marL="171450" indent="-171450">
              <a:lnSpc>
                <a:spcPts val="2100"/>
              </a:lnSpc>
              <a:spcBef>
                <a:spcPts val="975"/>
              </a:spcBef>
              <a:spcAft>
                <a:spcPts val="225"/>
              </a:spcAft>
              <a:buFont typeface="Wingdings" panose="05000000000000000000" pitchFamily="2" charset="2"/>
              <a:buChar char="ü"/>
            </a:pPr>
            <a:r>
              <a:rPr lang="el-GR" sz="1200"/>
              <a:t>Συσσωρευτές ιόντων </a:t>
            </a:r>
            <a:r>
              <a:rPr lang="el-GR" sz="1200" err="1"/>
              <a:t>λιθίου</a:t>
            </a:r>
            <a:endParaRPr lang="el-GR" sz="1200"/>
          </a:p>
          <a:p>
            <a:pPr marL="171450" indent="-171450">
              <a:lnSpc>
                <a:spcPts val="2100"/>
              </a:lnSpc>
              <a:spcBef>
                <a:spcPts val="975"/>
              </a:spcBef>
              <a:spcAft>
                <a:spcPts val="225"/>
              </a:spcAft>
              <a:buFont typeface="Wingdings" panose="05000000000000000000" pitchFamily="2" charset="2"/>
              <a:buChar char="ü"/>
            </a:pPr>
            <a:r>
              <a:rPr lang="el-GR" sz="1200" err="1"/>
              <a:t>Υπερπυκνωτές</a:t>
            </a:r>
            <a:endParaRPr lang="el-GR" sz="1200"/>
          </a:p>
          <a:p>
            <a:pPr marL="171450" indent="-171450">
              <a:lnSpc>
                <a:spcPts val="2100"/>
              </a:lnSpc>
              <a:spcBef>
                <a:spcPts val="975"/>
              </a:spcBef>
              <a:spcAft>
                <a:spcPts val="225"/>
              </a:spcAft>
              <a:buFont typeface="Wingdings" panose="05000000000000000000" pitchFamily="2" charset="2"/>
              <a:buChar char="ü"/>
            </a:pPr>
            <a:r>
              <a:rPr lang="el-GR" sz="1200"/>
              <a:t>Σφόνδυλοι κινητήρα</a:t>
            </a:r>
            <a:endParaRPr lang="el-GR" sz="1200">
              <a:solidFill>
                <a:schemeClr val="tx2">
                  <a:lumMod val="50000"/>
                </a:schemeClr>
              </a:solidFill>
              <a:latin typeface="+mj-lt"/>
            </a:endParaRPr>
          </a:p>
        </p:txBody>
      </p:sp>
      <p:sp>
        <p:nvSpPr>
          <p:cNvPr id="24" name="TextBox 23">
            <a:extLst>
              <a:ext uri="{FF2B5EF4-FFF2-40B4-BE49-F238E27FC236}">
                <a16:creationId xmlns:a16="http://schemas.microsoft.com/office/drawing/2014/main" id="{79F7B6A4-E184-5051-24F3-4A153108D03B}"/>
              </a:ext>
            </a:extLst>
          </p:cNvPr>
          <p:cNvSpPr txBox="1"/>
          <p:nvPr/>
        </p:nvSpPr>
        <p:spPr>
          <a:xfrm>
            <a:off x="8489323" y="3429000"/>
            <a:ext cx="3464417" cy="1086836"/>
          </a:xfrm>
          <a:prstGeom prst="rect">
            <a:avLst/>
          </a:prstGeom>
          <a:noFill/>
        </p:spPr>
        <p:txBody>
          <a:bodyPr wrap="square" lIns="0" tIns="0" rIns="0" bIns="0" rtlCol="0">
            <a:spAutoFit/>
          </a:bodyPr>
          <a:lstStyle/>
          <a:p>
            <a:pPr>
              <a:lnSpc>
                <a:spcPts val="2100"/>
              </a:lnSpc>
              <a:spcBef>
                <a:spcPts val="975"/>
              </a:spcBef>
              <a:spcAft>
                <a:spcPts val="225"/>
              </a:spcAft>
            </a:pPr>
            <a:r>
              <a:rPr lang="el-GR" sz="1200" b="1">
                <a:solidFill>
                  <a:schemeClr val="accent1"/>
                </a:solidFill>
                <a:latin typeface="+mj-lt"/>
              </a:rPr>
              <a:t>Παραδείγματα</a:t>
            </a:r>
          </a:p>
          <a:p>
            <a:pPr marL="171450" indent="-171450">
              <a:lnSpc>
                <a:spcPts val="2100"/>
              </a:lnSpc>
              <a:spcBef>
                <a:spcPts val="975"/>
              </a:spcBef>
              <a:spcAft>
                <a:spcPts val="225"/>
              </a:spcAft>
              <a:buFont typeface="Wingdings" panose="05000000000000000000" pitchFamily="2" charset="2"/>
              <a:buChar char="ü"/>
            </a:pPr>
            <a:r>
              <a:rPr lang="el-GR" sz="1200"/>
              <a:t>Συσσωρευτές οξειδοαναγωγής</a:t>
            </a:r>
          </a:p>
          <a:p>
            <a:pPr marL="171450" indent="-171450">
              <a:lnSpc>
                <a:spcPts val="2100"/>
              </a:lnSpc>
              <a:spcBef>
                <a:spcPts val="975"/>
              </a:spcBef>
              <a:spcAft>
                <a:spcPts val="225"/>
              </a:spcAft>
              <a:buFont typeface="Wingdings" panose="05000000000000000000" pitchFamily="2" charset="2"/>
              <a:buChar char="ü"/>
            </a:pPr>
            <a:r>
              <a:rPr lang="el-GR" sz="1200">
                <a:solidFill>
                  <a:schemeClr val="tx2">
                    <a:lumMod val="50000"/>
                  </a:schemeClr>
                </a:solidFill>
                <a:latin typeface="+mj-lt"/>
              </a:rPr>
              <a:t>Υδρογόνο και </a:t>
            </a:r>
            <a:r>
              <a:rPr lang="el-GR" sz="1200"/>
              <a:t>Κυψέλες καυσίμου / ηλεκτρολύτες</a:t>
            </a:r>
            <a:endParaRPr lang="el-GR" sz="1200">
              <a:solidFill>
                <a:schemeClr val="tx2">
                  <a:lumMod val="50000"/>
                </a:schemeClr>
              </a:solidFill>
              <a:latin typeface="+mj-lt"/>
            </a:endParaRPr>
          </a:p>
        </p:txBody>
      </p:sp>
      <p:sp>
        <p:nvSpPr>
          <p:cNvPr id="25" name="TextBox 24">
            <a:extLst>
              <a:ext uri="{FF2B5EF4-FFF2-40B4-BE49-F238E27FC236}">
                <a16:creationId xmlns:a16="http://schemas.microsoft.com/office/drawing/2014/main" id="{6E7EC6CF-A1D0-E52F-4B75-D87A9B8FD553}"/>
              </a:ext>
            </a:extLst>
          </p:cNvPr>
          <p:cNvSpPr txBox="1"/>
          <p:nvPr/>
        </p:nvSpPr>
        <p:spPr>
          <a:xfrm>
            <a:off x="4388476" y="3429000"/>
            <a:ext cx="3464417" cy="2779607"/>
          </a:xfrm>
          <a:prstGeom prst="rect">
            <a:avLst/>
          </a:prstGeom>
          <a:noFill/>
        </p:spPr>
        <p:txBody>
          <a:bodyPr wrap="square" lIns="0" tIns="0" rIns="0" bIns="0" rtlCol="0">
            <a:spAutoFit/>
          </a:bodyPr>
          <a:lstStyle/>
          <a:p>
            <a:pPr>
              <a:lnSpc>
                <a:spcPts val="2100"/>
              </a:lnSpc>
              <a:spcBef>
                <a:spcPts val="975"/>
              </a:spcBef>
              <a:spcAft>
                <a:spcPts val="225"/>
              </a:spcAft>
            </a:pPr>
            <a:r>
              <a:rPr lang="el-GR" sz="1200" b="1">
                <a:solidFill>
                  <a:schemeClr val="accent1"/>
                </a:solidFill>
                <a:latin typeface="+mj-lt"/>
              </a:rPr>
              <a:t>Παραδείγματα</a:t>
            </a:r>
          </a:p>
          <a:p>
            <a:pPr marL="171450" indent="-171450">
              <a:lnSpc>
                <a:spcPts val="2100"/>
              </a:lnSpc>
              <a:spcBef>
                <a:spcPts val="975"/>
              </a:spcBef>
              <a:spcAft>
                <a:spcPts val="225"/>
              </a:spcAft>
              <a:buFont typeface="Wingdings" panose="05000000000000000000" pitchFamily="2" charset="2"/>
              <a:buChar char="ü"/>
            </a:pPr>
            <a:r>
              <a:rPr lang="el-GR" sz="1200" err="1">
                <a:solidFill>
                  <a:schemeClr val="tx2">
                    <a:lumMod val="50000"/>
                  </a:schemeClr>
                </a:solidFill>
                <a:latin typeface="+mj-lt"/>
              </a:rPr>
              <a:t>Αντλησιοταμίευση</a:t>
            </a:r>
            <a:endParaRPr lang="el-GR" sz="1200">
              <a:solidFill>
                <a:schemeClr val="tx2">
                  <a:lumMod val="50000"/>
                </a:schemeClr>
              </a:solidFill>
              <a:latin typeface="+mj-lt"/>
            </a:endParaRPr>
          </a:p>
          <a:p>
            <a:pPr marL="171450" indent="-171450">
              <a:lnSpc>
                <a:spcPts val="2100"/>
              </a:lnSpc>
              <a:spcBef>
                <a:spcPts val="975"/>
              </a:spcBef>
              <a:spcAft>
                <a:spcPts val="225"/>
              </a:spcAft>
              <a:buFont typeface="Wingdings" panose="05000000000000000000" pitchFamily="2" charset="2"/>
              <a:buChar char="ü"/>
            </a:pPr>
            <a:r>
              <a:rPr lang="el-GR" sz="1200"/>
              <a:t>Συσσωρευτές νατρίου-θείου</a:t>
            </a:r>
          </a:p>
          <a:p>
            <a:pPr marL="171450" indent="-171450">
              <a:lnSpc>
                <a:spcPts val="2100"/>
              </a:lnSpc>
              <a:spcBef>
                <a:spcPts val="975"/>
              </a:spcBef>
              <a:spcAft>
                <a:spcPts val="225"/>
              </a:spcAft>
              <a:buFont typeface="Wingdings" panose="05000000000000000000" pitchFamily="2" charset="2"/>
              <a:buChar char="ü"/>
            </a:pPr>
            <a:r>
              <a:rPr lang="el-GR" sz="1200"/>
              <a:t>Συμπιεσμένος αέρας</a:t>
            </a:r>
          </a:p>
          <a:p>
            <a:pPr marL="171450" indent="-171450">
              <a:lnSpc>
                <a:spcPts val="2100"/>
              </a:lnSpc>
              <a:spcBef>
                <a:spcPts val="975"/>
              </a:spcBef>
              <a:spcAft>
                <a:spcPts val="225"/>
              </a:spcAft>
              <a:buFont typeface="Wingdings" panose="05000000000000000000" pitchFamily="2" charset="2"/>
              <a:buChar char="ü"/>
            </a:pPr>
            <a:r>
              <a:rPr lang="el-GR" sz="1200"/>
              <a:t>Υγροποιημένος αέρας (χαμηλή απόδοση)</a:t>
            </a:r>
          </a:p>
          <a:p>
            <a:pPr marL="171450" indent="-171450">
              <a:lnSpc>
                <a:spcPts val="2100"/>
              </a:lnSpc>
              <a:spcBef>
                <a:spcPts val="975"/>
              </a:spcBef>
              <a:spcAft>
                <a:spcPts val="225"/>
              </a:spcAft>
              <a:buFont typeface="Wingdings" panose="05000000000000000000" pitchFamily="2" charset="2"/>
              <a:buChar char="ü"/>
            </a:pPr>
            <a:r>
              <a:rPr lang="el-GR" sz="1200"/>
              <a:t>Αποθήκευση θερμότητας</a:t>
            </a:r>
          </a:p>
          <a:p>
            <a:pPr marL="171450" indent="-171450">
              <a:lnSpc>
                <a:spcPts val="2100"/>
              </a:lnSpc>
              <a:spcBef>
                <a:spcPts val="975"/>
              </a:spcBef>
              <a:spcAft>
                <a:spcPts val="225"/>
              </a:spcAft>
              <a:buFont typeface="Wingdings" panose="05000000000000000000" pitchFamily="2" charset="2"/>
              <a:buChar char="ü"/>
            </a:pPr>
            <a:r>
              <a:rPr lang="el-GR" sz="1200"/>
              <a:t>Αποθήκευση σε </a:t>
            </a:r>
            <a:r>
              <a:rPr lang="el-GR" sz="1200" err="1"/>
              <a:t>τήγμα</a:t>
            </a:r>
            <a:r>
              <a:rPr lang="el-GR" sz="1200"/>
              <a:t> άλατος</a:t>
            </a:r>
            <a:endParaRPr lang="el-GR" sz="1200">
              <a:solidFill>
                <a:schemeClr val="tx2">
                  <a:lumMod val="50000"/>
                </a:schemeClr>
              </a:solidFill>
              <a:latin typeface="+mj-lt"/>
            </a:endParaRPr>
          </a:p>
        </p:txBody>
      </p:sp>
      <p:sp>
        <p:nvSpPr>
          <p:cNvPr id="2" name="TextBox 1">
            <a:extLst>
              <a:ext uri="{FF2B5EF4-FFF2-40B4-BE49-F238E27FC236}">
                <a16:creationId xmlns:a16="http://schemas.microsoft.com/office/drawing/2014/main" id="{4A8564CD-A669-F3B2-DE44-F26C32528CBA}"/>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b="0">
                <a:solidFill>
                  <a:schemeClr val="tx1"/>
                </a:solidFill>
              </a:rPr>
              <a:t>Στήριξη της ΕΕ για την</a:t>
            </a:r>
            <a:r>
              <a:rPr lang="en-US" sz="1200" b="0">
                <a:solidFill>
                  <a:schemeClr val="tx1"/>
                </a:solidFill>
              </a:rPr>
              <a:t> </a:t>
            </a:r>
            <a:r>
              <a:rPr lang="el-GR" sz="1200" b="0">
                <a:solidFill>
                  <a:schemeClr val="tx1"/>
                </a:solidFill>
              </a:rPr>
              <a:t>αποθήκευση ενέργειας</a:t>
            </a:r>
            <a:r>
              <a:rPr lang="en-US" sz="1200" b="0">
                <a:solidFill>
                  <a:schemeClr val="tx1"/>
                </a:solidFill>
              </a:rPr>
              <a:t>, </a:t>
            </a:r>
            <a:r>
              <a:rPr lang="el-GR" sz="1200" b="0">
                <a:solidFill>
                  <a:schemeClr val="tx1"/>
                </a:solidFill>
              </a:rPr>
              <a:t>Ενημερωτικό έγγραφο</a:t>
            </a:r>
            <a:endParaRPr lang="en-US" sz="1200"/>
          </a:p>
        </p:txBody>
      </p:sp>
    </p:spTree>
    <p:extLst>
      <p:ext uri="{BB962C8B-B14F-4D97-AF65-F5344CB8AC3E}">
        <p14:creationId xmlns:p14="http://schemas.microsoft.com/office/powerpoint/2010/main" val="1203356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2CA16-C23B-3A7F-194D-1B4341BB3E7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881A859-12B5-847C-9E8E-20F2E520A4FD}"/>
              </a:ext>
            </a:extLst>
          </p:cNvPr>
          <p:cNvSpPr>
            <a:spLocks noGrp="1"/>
          </p:cNvSpPr>
          <p:nvPr>
            <p:ph type="title"/>
          </p:nvPr>
        </p:nvSpPr>
        <p:spPr>
          <a:xfrm>
            <a:off x="443372" y="379660"/>
            <a:ext cx="11305716" cy="984885"/>
          </a:xfrm>
        </p:spPr>
        <p:txBody>
          <a:bodyPr/>
          <a:lstStyle/>
          <a:p>
            <a:r>
              <a:rPr lang="el-GR">
                <a:solidFill>
                  <a:schemeClr val="accent2"/>
                </a:solidFill>
              </a:rPr>
              <a:t>Πτωτική Τάση στο Κόστος Επένδυσης και Συντήρησης Συστημάτων Αποθήκευσης με Μπαταρίες</a:t>
            </a:r>
            <a:endParaRPr lang="en-US">
              <a:solidFill>
                <a:schemeClr val="accent2"/>
              </a:solidFill>
            </a:endParaRPr>
          </a:p>
        </p:txBody>
      </p:sp>
      <p:pic>
        <p:nvPicPr>
          <p:cNvPr id="10244" name="Picture 4">
            <a:extLst>
              <a:ext uri="{FF2B5EF4-FFF2-40B4-BE49-F238E27FC236}">
                <a16:creationId xmlns:a16="http://schemas.microsoft.com/office/drawing/2014/main" id="{417A5CC9-A348-71E9-BB58-5724D746DFAE}"/>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t="7298"/>
          <a:stretch/>
        </p:blipFill>
        <p:spPr bwMode="auto">
          <a:xfrm>
            <a:off x="215152" y="2246198"/>
            <a:ext cx="7968306" cy="323822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6">
            <a:extLst>
              <a:ext uri="{FF2B5EF4-FFF2-40B4-BE49-F238E27FC236}">
                <a16:creationId xmlns:a16="http://schemas.microsoft.com/office/drawing/2014/main" id="{D63D7D00-2BDB-9B69-5AA4-BC136D895C46}"/>
              </a:ext>
            </a:extLst>
          </p:cNvPr>
          <p:cNvSpPr txBox="1"/>
          <p:nvPr/>
        </p:nvSpPr>
        <p:spPr>
          <a:xfrm>
            <a:off x="292892" y="5788998"/>
            <a:ext cx="7890566" cy="830997"/>
          </a:xfrm>
          <a:prstGeom prst="rect">
            <a:avLst/>
          </a:prstGeom>
          <a:solidFill>
            <a:schemeClr val="accent1">
              <a:lumMod val="60000"/>
              <a:lumOff val="40000"/>
            </a:schemeClr>
          </a:solidFill>
          <a:ln w="28575">
            <a:solidFill>
              <a:schemeClr val="bg1"/>
            </a:solidFill>
          </a:ln>
        </p:spPr>
        <p:txBody>
          <a:bodyPr wrap="square" rtlCol="0">
            <a:spAutoFit/>
          </a:bodyPr>
          <a:lstStyle>
            <a:defPPr marR="0" lvl="0" algn="l" rtl="0">
              <a:lnSpc>
                <a:spcPct val="100000"/>
              </a:lnSpc>
              <a:spcBef>
                <a:spcPts val="0"/>
              </a:spcBef>
              <a:spcAft>
                <a:spcPts val="0"/>
              </a:spcAft>
              <a:defRPr/>
            </a:defPPr>
            <a:lvl1pPr marR="0" lvl="0" algn="l" rtl="0">
              <a:lnSpc>
                <a:spcPct val="100000"/>
              </a:lnSpc>
              <a:spcBef>
                <a:spcPts val="0"/>
              </a:spcBef>
              <a:spcAft>
                <a:spcPts val="0"/>
              </a:spcAft>
              <a:buClr>
                <a:srgbClr val="000000"/>
              </a:buClr>
              <a:buFont typeface="Arial"/>
              <a:defRPr sz="1265" b="1" i="1" u="none" strike="noStrike" cap="none">
                <a:solidFill>
                  <a:srgbClr val="474747"/>
                </a:solidFill>
                <a:latin typeface="BBG CJK"/>
                <a:ea typeface="Arial"/>
                <a:cs typeface="Arial"/>
                <a:sym typeface="Arial"/>
              </a:defRPr>
            </a:lvl1pPr>
            <a:lvl2pPr marR="0" lvl="1"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2pPr>
            <a:lvl3pPr marR="0" lvl="2"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3pPr>
            <a:lvl4pPr marR="0" lvl="3"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4pPr>
            <a:lvl5pPr marR="0" lvl="4"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5pPr>
            <a:lvl6pPr marR="0" lvl="5"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6pPr>
            <a:lvl7pPr marR="0" lvl="6"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7pPr>
            <a:lvl8pPr marR="0" lvl="7"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8pPr>
            <a:lvl9pPr marR="0" lvl="8" algn="l" rtl="0">
              <a:lnSpc>
                <a:spcPct val="90000"/>
              </a:lnSpc>
              <a:spcBef>
                <a:spcPts val="0"/>
              </a:spcBef>
              <a:spcAft>
                <a:spcPts val="0"/>
              </a:spcAft>
              <a:buClr>
                <a:schemeClr val="accent5"/>
              </a:buClr>
              <a:buSzPts val="2000"/>
              <a:buFont typeface="Merriweather"/>
              <a:buNone/>
              <a:defRPr sz="2000" b="1" i="0" u="none" strike="noStrike" cap="none">
                <a:solidFill>
                  <a:schemeClr val="accent5"/>
                </a:solidFill>
                <a:latin typeface="Merriweather"/>
                <a:ea typeface="Merriweather"/>
                <a:cs typeface="Merriweather"/>
                <a:sym typeface="Merriweather"/>
              </a:defRPr>
            </a:lvl9pPr>
          </a:lstStyle>
          <a:p>
            <a:r>
              <a:rPr lang="el-GR" sz="1600" b="0" i="0">
                <a:solidFill>
                  <a:schemeClr val="bg1"/>
                </a:solidFill>
                <a:effectLst/>
                <a:latin typeface="Aptos" panose="020B0004020202020204" pitchFamily="34" charset="0"/>
              </a:rPr>
              <a:t>Το κόστος των συστημάτων αποθήκευσης με μπαταρίες (BESS) επηρεάζεται σε μεγάλο βαθμό από τη διάρκεια αποθήκευσης, η οποία αποτελεί βασικό τεχνικό χαρακτηριστικό των BESS.</a:t>
            </a:r>
            <a:endParaRPr lang="en-US" sz="1600" b="0">
              <a:solidFill>
                <a:schemeClr val="bg1"/>
              </a:solidFill>
            </a:endParaRPr>
          </a:p>
        </p:txBody>
      </p:sp>
      <p:sp>
        <p:nvSpPr>
          <p:cNvPr id="4" name="TextBox 3">
            <a:extLst>
              <a:ext uri="{FF2B5EF4-FFF2-40B4-BE49-F238E27FC236}">
                <a16:creationId xmlns:a16="http://schemas.microsoft.com/office/drawing/2014/main" id="{90D782B1-DFF1-0828-B1B6-90DC90965A05}"/>
              </a:ext>
            </a:extLst>
          </p:cNvPr>
          <p:cNvSpPr txBox="1"/>
          <p:nvPr/>
        </p:nvSpPr>
        <p:spPr>
          <a:xfrm>
            <a:off x="215152" y="1559995"/>
            <a:ext cx="5735784" cy="523220"/>
          </a:xfrm>
          <a:prstGeom prst="rect">
            <a:avLst/>
          </a:prstGeom>
          <a:noFill/>
        </p:spPr>
        <p:txBody>
          <a:bodyPr wrap="square">
            <a:spAutoFit/>
          </a:bodyPr>
          <a:lstStyle/>
          <a:p>
            <a:r>
              <a:rPr lang="el-GR" sz="1400" spc="-11">
                <a:solidFill>
                  <a:srgbClr val="0F55F5"/>
                </a:solidFill>
              </a:rPr>
              <a:t>Κόστος επένδυσης για συστήματα αποθήκευσης με μπαταρίες (CAPEX), ανά διάρκεια αποθήκευσης (€/kW, σταθερές τιμές 2023)</a:t>
            </a:r>
            <a:endParaRPr lang="en-US" sz="1400" spc="-11">
              <a:solidFill>
                <a:srgbClr val="0F55F5"/>
              </a:solidFill>
            </a:endParaRPr>
          </a:p>
        </p:txBody>
      </p:sp>
      <p:pic>
        <p:nvPicPr>
          <p:cNvPr id="13" name="Picture 2">
            <a:extLst>
              <a:ext uri="{FF2B5EF4-FFF2-40B4-BE49-F238E27FC236}">
                <a16:creationId xmlns:a16="http://schemas.microsoft.com/office/drawing/2014/main" id="{6B05432C-5E69-6536-2BB0-B6D821DCB1CD}"/>
              </a:ext>
            </a:extLst>
          </p:cNvPr>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t="8296"/>
          <a:stretch/>
        </p:blipFill>
        <p:spPr bwMode="auto">
          <a:xfrm>
            <a:off x="8327783" y="2620349"/>
            <a:ext cx="3311925" cy="267765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738C0FB-3513-1DC5-7D3D-D00B3D547989}"/>
              </a:ext>
            </a:extLst>
          </p:cNvPr>
          <p:cNvSpPr txBox="1"/>
          <p:nvPr/>
        </p:nvSpPr>
        <p:spPr>
          <a:xfrm>
            <a:off x="8594072" y="1559995"/>
            <a:ext cx="3045636" cy="738664"/>
          </a:xfrm>
          <a:prstGeom prst="rect">
            <a:avLst/>
          </a:prstGeom>
          <a:noFill/>
        </p:spPr>
        <p:txBody>
          <a:bodyPr wrap="square">
            <a:spAutoFit/>
          </a:bodyPr>
          <a:lstStyle/>
          <a:p>
            <a:pPr>
              <a:buNone/>
            </a:pPr>
            <a:r>
              <a:rPr lang="el-GR" sz="1400" spc="-11">
                <a:solidFill>
                  <a:srgbClr val="0F55F5"/>
                </a:solidFill>
              </a:rPr>
              <a:t>Πρόβλεψη κόστους συστήματος μπαταρίας λιθίου – διάρκεια 2 ωρών</a:t>
            </a:r>
          </a:p>
          <a:p>
            <a:r>
              <a:rPr lang="el-GR" sz="1400" spc="-11">
                <a:solidFill>
                  <a:srgbClr val="0F55F5"/>
                </a:solidFill>
              </a:rPr>
              <a:t>(€/kW, σταθερές τιμές 2023)</a:t>
            </a:r>
          </a:p>
        </p:txBody>
      </p:sp>
      <p:sp>
        <p:nvSpPr>
          <p:cNvPr id="17" name="TextBox 16">
            <a:extLst>
              <a:ext uri="{FF2B5EF4-FFF2-40B4-BE49-F238E27FC236}">
                <a16:creationId xmlns:a16="http://schemas.microsoft.com/office/drawing/2014/main" id="{CB953BF0-A099-1F68-A958-2C429B30388B}"/>
              </a:ext>
            </a:extLst>
          </p:cNvPr>
          <p:cNvSpPr txBox="1"/>
          <p:nvPr/>
        </p:nvSpPr>
        <p:spPr>
          <a:xfrm>
            <a:off x="8326831" y="5484426"/>
            <a:ext cx="4071844" cy="1107996"/>
          </a:xfrm>
          <a:prstGeom prst="rect">
            <a:avLst/>
          </a:prstGeom>
          <a:solidFill>
            <a:schemeClr val="bg1"/>
          </a:solidFill>
        </p:spPr>
        <p:txBody>
          <a:bodyPr wrap="square">
            <a:spAutoFit/>
          </a:bodyPr>
          <a:lstStyle/>
          <a:p>
            <a:r>
              <a:rPr lang="el-GR" sz="1100"/>
              <a:t>Το αυξημένο κόστος επένδυσης (CAPEX) σε βραχυπρόθεσμο ορίζοντα οφείλεται κυρίως στην τιμή του λιθίου.</a:t>
            </a:r>
            <a:br>
              <a:rPr lang="el-GR" sz="1100"/>
            </a:br>
            <a:r>
              <a:rPr lang="el-GR" sz="1100"/>
              <a:t>Παρότι η τιμή του λιθίου παρουσιάζει πτωτική τάση, παραμένει πάνω από τον μέσο όρο της τελευταίας δεκαετίας.</a:t>
            </a:r>
            <a:br>
              <a:rPr lang="el-GR" sz="1100"/>
            </a:br>
            <a:r>
              <a:rPr lang="el-GR" sz="1100"/>
              <a:t>Ωστόσο, το CAPEX αναμένεται να επανέλθει σε πτωτική πορεία μετά το 2030, καθώς υποχωρούν οι υλικοί περιορισμοί.</a:t>
            </a:r>
          </a:p>
        </p:txBody>
      </p:sp>
      <p:sp>
        <p:nvSpPr>
          <p:cNvPr id="3" name="TextBox 2">
            <a:extLst>
              <a:ext uri="{FF2B5EF4-FFF2-40B4-BE49-F238E27FC236}">
                <a16:creationId xmlns:a16="http://schemas.microsoft.com/office/drawing/2014/main" id="{5CA71A9F-5323-AFDA-83BA-964C149DC905}"/>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b="0">
                <a:solidFill>
                  <a:schemeClr val="tx1"/>
                </a:solidFill>
              </a:rPr>
              <a:t>ΙΕΑ, </a:t>
            </a:r>
            <a:r>
              <a:rPr lang="en-US" sz="1200" b="0">
                <a:solidFill>
                  <a:schemeClr val="tx1"/>
                </a:solidFill>
              </a:rPr>
              <a:t>NREL</a:t>
            </a:r>
            <a:endParaRPr lang="en-US" sz="1200"/>
          </a:p>
        </p:txBody>
      </p:sp>
    </p:spTree>
    <p:extLst>
      <p:ext uri="{BB962C8B-B14F-4D97-AF65-F5344CB8AC3E}">
        <p14:creationId xmlns:p14="http://schemas.microsoft.com/office/powerpoint/2010/main" val="567932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BDDC3E-1BEC-5174-3A1B-3CD1AF7D9A0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20387F-338B-EDF3-9BF2-C8542EE9EC22}"/>
              </a:ext>
            </a:extLst>
          </p:cNvPr>
          <p:cNvSpPr>
            <a:spLocks noGrp="1"/>
          </p:cNvSpPr>
          <p:nvPr>
            <p:ph type="title"/>
          </p:nvPr>
        </p:nvSpPr>
        <p:spPr>
          <a:xfrm>
            <a:off x="443372" y="379660"/>
            <a:ext cx="11305716" cy="984885"/>
          </a:xfrm>
        </p:spPr>
        <p:txBody>
          <a:bodyPr/>
          <a:lstStyle/>
          <a:p>
            <a:r>
              <a:rPr lang="el-GR">
                <a:solidFill>
                  <a:schemeClr val="accent2"/>
                </a:solidFill>
              </a:rPr>
              <a:t>Πτωτική Τάση στο Κόστος Επένδυσης και Συντήρησης Συστημάτων Αποθήκευσης με Μπαταρίες</a:t>
            </a:r>
            <a:endParaRPr lang="en-US">
              <a:solidFill>
                <a:schemeClr val="accent2"/>
              </a:solidFill>
            </a:endParaRPr>
          </a:p>
        </p:txBody>
      </p:sp>
      <p:sp>
        <p:nvSpPr>
          <p:cNvPr id="3" name="TextBox 2">
            <a:extLst>
              <a:ext uri="{FF2B5EF4-FFF2-40B4-BE49-F238E27FC236}">
                <a16:creationId xmlns:a16="http://schemas.microsoft.com/office/drawing/2014/main" id="{0C791160-76D7-5041-0321-291747BF0B6B}"/>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a:t>
            </a:r>
            <a:r>
              <a:rPr lang="el-GR" sz="1200" b="0">
                <a:solidFill>
                  <a:schemeClr val="tx1"/>
                </a:solidFill>
              </a:rPr>
              <a:t>ΙΕΑ, </a:t>
            </a:r>
            <a:r>
              <a:rPr lang="en-US" sz="1200" b="0">
                <a:solidFill>
                  <a:schemeClr val="tx1"/>
                </a:solidFill>
              </a:rPr>
              <a:t>NREL</a:t>
            </a:r>
            <a:endParaRPr lang="en-US" sz="1200"/>
          </a:p>
        </p:txBody>
      </p:sp>
      <p:graphicFrame>
        <p:nvGraphicFramePr>
          <p:cNvPr id="7" name="Chart 6">
            <a:extLst>
              <a:ext uri="{FF2B5EF4-FFF2-40B4-BE49-F238E27FC236}">
                <a16:creationId xmlns:a16="http://schemas.microsoft.com/office/drawing/2014/main" id="{FBDAE355-E45A-BD0F-A59E-D5B0FF90683D}"/>
              </a:ext>
            </a:extLst>
          </p:cNvPr>
          <p:cNvGraphicFramePr>
            <a:graphicFrameLocks/>
          </p:cNvGraphicFramePr>
          <p:nvPr>
            <p:extLst>
              <p:ext uri="{D42A27DB-BD31-4B8C-83A1-F6EECF244321}">
                <p14:modId xmlns:p14="http://schemas.microsoft.com/office/powerpoint/2010/main" val="3421647416"/>
              </p:ext>
            </p:extLst>
          </p:nvPr>
        </p:nvGraphicFramePr>
        <p:xfrm>
          <a:off x="733646" y="2294466"/>
          <a:ext cx="6141287" cy="388687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99AF8A5-56D9-C6C7-6464-F3BE7C54A8D8}"/>
              </a:ext>
            </a:extLst>
          </p:cNvPr>
          <p:cNvSpPr txBox="1"/>
          <p:nvPr/>
        </p:nvSpPr>
        <p:spPr>
          <a:xfrm>
            <a:off x="443372" y="1764653"/>
            <a:ext cx="6984896" cy="338554"/>
          </a:xfrm>
          <a:prstGeom prst="rect">
            <a:avLst/>
          </a:prstGeom>
          <a:noFill/>
        </p:spPr>
        <p:txBody>
          <a:bodyPr wrap="square">
            <a:spAutoFit/>
          </a:bodyPr>
          <a:lstStyle/>
          <a:p>
            <a:pPr algn="ctr"/>
            <a:r>
              <a:rPr lang="el-GR" sz="1600" spc="-11">
                <a:solidFill>
                  <a:srgbClr val="0F55F5"/>
                </a:solidFill>
              </a:rPr>
              <a:t>Κόστος </a:t>
            </a:r>
            <a:r>
              <a:rPr lang="en-US" sz="1600" spc="-11">
                <a:solidFill>
                  <a:srgbClr val="0F55F5"/>
                </a:solidFill>
              </a:rPr>
              <a:t>Li-ion </a:t>
            </a:r>
            <a:r>
              <a:rPr lang="el-GR" sz="1600" spc="-11">
                <a:solidFill>
                  <a:srgbClr val="0F55F5"/>
                </a:solidFill>
              </a:rPr>
              <a:t>Μπαταριών ($/</a:t>
            </a:r>
            <a:r>
              <a:rPr lang="en-US" sz="1600" spc="-11">
                <a:solidFill>
                  <a:srgbClr val="0F55F5"/>
                </a:solidFill>
              </a:rPr>
              <a:t>kWh), 2018-2024</a:t>
            </a:r>
            <a:endParaRPr lang="en-US">
              <a:solidFill>
                <a:srgbClr val="0F55F5"/>
              </a:solidFill>
            </a:endParaRPr>
          </a:p>
        </p:txBody>
      </p:sp>
      <p:pic>
        <p:nvPicPr>
          <p:cNvPr id="10" name="Picture 6">
            <a:extLst>
              <a:ext uri="{FF2B5EF4-FFF2-40B4-BE49-F238E27FC236}">
                <a16:creationId xmlns:a16="http://schemas.microsoft.com/office/drawing/2014/main" id="{8D9FFF51-27A4-8A5A-8E44-E9CABB579E6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9905" r="46432"/>
          <a:stretch/>
        </p:blipFill>
        <p:spPr bwMode="auto">
          <a:xfrm>
            <a:off x="7562842" y="1887765"/>
            <a:ext cx="2556926" cy="208294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a:extLst>
              <a:ext uri="{FF2B5EF4-FFF2-40B4-BE49-F238E27FC236}">
                <a16:creationId xmlns:a16="http://schemas.microsoft.com/office/drawing/2014/main" id="{29DB0F17-4C4F-1C34-B186-CFB51760725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204" t="19905"/>
          <a:stretch/>
        </p:blipFill>
        <p:spPr bwMode="auto">
          <a:xfrm>
            <a:off x="7782884" y="4499787"/>
            <a:ext cx="2336884" cy="212781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92EAD91-1037-CD5A-502E-1528FB7E5619}"/>
              </a:ext>
            </a:extLst>
          </p:cNvPr>
          <p:cNvSpPr txBox="1"/>
          <p:nvPr/>
        </p:nvSpPr>
        <p:spPr>
          <a:xfrm>
            <a:off x="6942667" y="1364543"/>
            <a:ext cx="4723294" cy="523220"/>
          </a:xfrm>
          <a:prstGeom prst="rect">
            <a:avLst/>
          </a:prstGeom>
          <a:noFill/>
        </p:spPr>
        <p:txBody>
          <a:bodyPr wrap="square">
            <a:spAutoFit/>
          </a:bodyPr>
          <a:lstStyle/>
          <a:p>
            <a:r>
              <a:rPr lang="el-GR" sz="1400" spc="-11">
                <a:solidFill>
                  <a:srgbClr val="0F55F5"/>
                </a:solidFill>
              </a:rPr>
              <a:t>Εξέλιξη κόστους επένδυσης (CAPEX) για συστήματα αποθήκευσης μεγάλης κλίμακας ($/kW)</a:t>
            </a:r>
            <a:endParaRPr lang="en-US" sz="1400" spc="-11">
              <a:solidFill>
                <a:srgbClr val="0F55F5"/>
              </a:solidFill>
            </a:endParaRPr>
          </a:p>
        </p:txBody>
      </p:sp>
      <p:sp>
        <p:nvSpPr>
          <p:cNvPr id="16" name="TextBox 15">
            <a:extLst>
              <a:ext uri="{FF2B5EF4-FFF2-40B4-BE49-F238E27FC236}">
                <a16:creationId xmlns:a16="http://schemas.microsoft.com/office/drawing/2014/main" id="{A4925FDD-5C58-C1E4-D339-60715160A9FC}"/>
              </a:ext>
            </a:extLst>
          </p:cNvPr>
          <p:cNvSpPr txBox="1"/>
          <p:nvPr/>
        </p:nvSpPr>
        <p:spPr>
          <a:xfrm>
            <a:off x="7025794" y="3899155"/>
            <a:ext cx="4723294" cy="523220"/>
          </a:xfrm>
          <a:prstGeom prst="rect">
            <a:avLst/>
          </a:prstGeom>
          <a:noFill/>
        </p:spPr>
        <p:txBody>
          <a:bodyPr wrap="square">
            <a:spAutoFit/>
          </a:bodyPr>
          <a:lstStyle/>
          <a:p>
            <a:r>
              <a:rPr lang="el-GR" sz="1400" spc="-11">
                <a:solidFill>
                  <a:srgbClr val="0F55F5"/>
                </a:solidFill>
              </a:rPr>
              <a:t>Εξέλιξη σταθερού κόστους λειτουργίας &amp; συντήρησης (O&amp;M) για συστήματα αποθήκευσης μεγάλης κλίμακας ($/kW-έτος)</a:t>
            </a:r>
            <a:endParaRPr lang="en-US" sz="1400" spc="-11">
              <a:solidFill>
                <a:srgbClr val="0F55F5"/>
              </a:solidFill>
            </a:endParaRPr>
          </a:p>
        </p:txBody>
      </p:sp>
    </p:spTree>
    <p:extLst>
      <p:ext uri="{BB962C8B-B14F-4D97-AF65-F5344CB8AC3E}">
        <p14:creationId xmlns:p14="http://schemas.microsoft.com/office/powerpoint/2010/main" val="3709654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0ABE6-AFE8-24E9-F286-0DDD0ADCE14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B6E22B3-D34B-9A81-DE24-48B4B52FD694}"/>
              </a:ext>
            </a:extLst>
          </p:cNvPr>
          <p:cNvSpPr>
            <a:spLocks noGrp="1"/>
          </p:cNvSpPr>
          <p:nvPr>
            <p:ph type="title"/>
          </p:nvPr>
        </p:nvSpPr>
        <p:spPr>
          <a:xfrm>
            <a:off x="443372" y="379660"/>
            <a:ext cx="11305716" cy="800219"/>
          </a:xfrm>
        </p:spPr>
        <p:txBody>
          <a:bodyPr/>
          <a:lstStyle/>
          <a:p>
            <a:r>
              <a:rPr lang="el-GR">
                <a:solidFill>
                  <a:srgbClr val="0F55F5"/>
                </a:solidFill>
              </a:rPr>
              <a:t>Η σημασία της αποθήκευσης </a:t>
            </a:r>
            <a:br>
              <a:rPr lang="el-GR">
                <a:solidFill>
                  <a:srgbClr val="0F55F5"/>
                </a:solidFill>
              </a:rPr>
            </a:br>
            <a:r>
              <a:rPr lang="el-GR" sz="2000" b="0">
                <a:solidFill>
                  <a:srgbClr val="0F55F5"/>
                </a:solidFill>
              </a:rPr>
              <a:t>Υφιστάμενο πλαίσιο Αγοράς στην Ελλάδα</a:t>
            </a:r>
            <a:endParaRPr lang="en-US" b="0">
              <a:solidFill>
                <a:srgbClr val="0F55F5"/>
              </a:solidFill>
            </a:endParaRPr>
          </a:p>
        </p:txBody>
      </p:sp>
      <p:sp>
        <p:nvSpPr>
          <p:cNvPr id="55" name="TextBox 54">
            <a:extLst>
              <a:ext uri="{FF2B5EF4-FFF2-40B4-BE49-F238E27FC236}">
                <a16:creationId xmlns:a16="http://schemas.microsoft.com/office/drawing/2014/main" id="{110FDCB7-6D7D-5D36-6228-7D315C033733}"/>
              </a:ext>
            </a:extLst>
          </p:cNvPr>
          <p:cNvSpPr txBox="1"/>
          <p:nvPr/>
        </p:nvSpPr>
        <p:spPr>
          <a:xfrm>
            <a:off x="7441931" y="1479431"/>
            <a:ext cx="4307157" cy="2362185"/>
          </a:xfrm>
          <a:prstGeom prst="rect">
            <a:avLst/>
          </a:prstGeom>
          <a:solidFill>
            <a:schemeClr val="accent2"/>
          </a:solidFill>
        </p:spPr>
        <p:txBody>
          <a:bodyPr wrap="square" lIns="0" tIns="0" rIns="0" bIns="0" rtlCol="0" anchor="ctr">
            <a:spAutoFit/>
          </a:bodyPr>
          <a:lstStyle/>
          <a:p>
            <a:pPr algn="ctr">
              <a:lnSpc>
                <a:spcPts val="2100"/>
              </a:lnSpc>
              <a:spcBef>
                <a:spcPts val="975"/>
              </a:spcBef>
              <a:spcAft>
                <a:spcPts val="225"/>
              </a:spcAft>
            </a:pPr>
            <a:r>
              <a:rPr lang="el-GR" sz="1400" b="1">
                <a:solidFill>
                  <a:schemeClr val="bg1"/>
                </a:solidFill>
                <a:latin typeface="+mj-lt"/>
              </a:rPr>
              <a:t>Αύξηση των ΑΠΕ, Συνθήκες Δικτύου και Δομή της Αγοράς</a:t>
            </a:r>
            <a:endParaRPr lang="en-US" sz="1400" b="1">
              <a:solidFill>
                <a:schemeClr val="bg1"/>
              </a:solidFill>
              <a:latin typeface="+mj-lt"/>
            </a:endParaRPr>
          </a:p>
          <a:p>
            <a:pPr marL="171450" indent="-171450" algn="just">
              <a:spcBef>
                <a:spcPts val="975"/>
              </a:spcBef>
              <a:spcAft>
                <a:spcPts val="225"/>
              </a:spcAft>
              <a:buFont typeface="Arial" panose="020B0604020202020204" pitchFamily="34" charset="0"/>
              <a:buChar char="•"/>
            </a:pPr>
            <a:r>
              <a:rPr lang="el-GR" sz="1200">
                <a:solidFill>
                  <a:schemeClr val="bg1"/>
                </a:solidFill>
                <a:latin typeface="+mj-lt"/>
              </a:rPr>
              <a:t>Το 2024 είχαμε </a:t>
            </a:r>
            <a:r>
              <a:rPr lang="en-US" sz="1200">
                <a:solidFill>
                  <a:schemeClr val="bg1"/>
                </a:solidFill>
                <a:latin typeface="+mj-lt"/>
              </a:rPr>
              <a:t>12</a:t>
            </a:r>
            <a:r>
              <a:rPr lang="el-GR" sz="1200">
                <a:solidFill>
                  <a:schemeClr val="bg1"/>
                </a:solidFill>
                <a:latin typeface="+mj-lt"/>
              </a:rPr>
              <a:t>.8 </a:t>
            </a:r>
            <a:r>
              <a:rPr lang="en-US" sz="1200">
                <a:solidFill>
                  <a:schemeClr val="bg1"/>
                </a:solidFill>
                <a:latin typeface="+mj-lt"/>
              </a:rPr>
              <a:t>GW </a:t>
            </a:r>
            <a:r>
              <a:rPr lang="el-GR" sz="1200">
                <a:solidFill>
                  <a:schemeClr val="bg1"/>
                </a:solidFill>
                <a:latin typeface="+mj-lt"/>
              </a:rPr>
              <a:t>εγκατεστημένης ισχύος ΑΠΕ στο σύστημα.</a:t>
            </a:r>
          </a:p>
          <a:p>
            <a:pPr marL="171450" indent="-171450" algn="just">
              <a:spcBef>
                <a:spcPts val="975"/>
              </a:spcBef>
              <a:spcAft>
                <a:spcPts val="225"/>
              </a:spcAft>
              <a:buFont typeface="Arial" panose="020B0604020202020204" pitchFamily="34" charset="0"/>
              <a:buChar char="•"/>
            </a:pPr>
            <a:r>
              <a:rPr lang="el-GR" sz="1200">
                <a:solidFill>
                  <a:schemeClr val="bg1"/>
                </a:solidFill>
                <a:latin typeface="+mj-lt"/>
              </a:rPr>
              <a:t>Μάρτιος του 2025 είχαμε </a:t>
            </a:r>
            <a:r>
              <a:rPr lang="en-US" sz="1200">
                <a:solidFill>
                  <a:schemeClr val="bg1"/>
                </a:solidFill>
                <a:latin typeface="+mj-lt"/>
              </a:rPr>
              <a:t>14.</a:t>
            </a:r>
            <a:r>
              <a:rPr lang="el-GR" sz="1200">
                <a:solidFill>
                  <a:schemeClr val="bg1"/>
                </a:solidFill>
                <a:latin typeface="+mj-lt"/>
              </a:rPr>
              <a:t>65 </a:t>
            </a:r>
            <a:r>
              <a:rPr lang="en-US" sz="1200">
                <a:solidFill>
                  <a:schemeClr val="bg1"/>
                </a:solidFill>
                <a:latin typeface="+mj-lt"/>
              </a:rPr>
              <a:t>GW </a:t>
            </a:r>
            <a:r>
              <a:rPr lang="el-GR" sz="1200">
                <a:solidFill>
                  <a:schemeClr val="bg1"/>
                </a:solidFill>
                <a:latin typeface="+mj-lt"/>
              </a:rPr>
              <a:t>εγκατεστημένης ισχύος ΑΠΕ στο σύστημα εκ των οποίων </a:t>
            </a:r>
            <a:r>
              <a:rPr lang="el-GR" sz="1200" b="1">
                <a:solidFill>
                  <a:schemeClr val="bg1"/>
                </a:solidFill>
                <a:latin typeface="+mj-lt"/>
              </a:rPr>
              <a:t>5,3 </a:t>
            </a:r>
            <a:r>
              <a:rPr lang="en-US" sz="1200" b="1">
                <a:solidFill>
                  <a:schemeClr val="bg1"/>
                </a:solidFill>
                <a:latin typeface="+mj-lt"/>
              </a:rPr>
              <a:t>GW </a:t>
            </a:r>
            <a:r>
              <a:rPr lang="el-GR" sz="1200">
                <a:solidFill>
                  <a:schemeClr val="bg1"/>
                </a:solidFill>
                <a:latin typeface="+mj-lt"/>
              </a:rPr>
              <a:t>είναι </a:t>
            </a:r>
            <a:r>
              <a:rPr lang="el-GR" sz="1200" b="1">
                <a:solidFill>
                  <a:schemeClr val="bg1"/>
                </a:solidFill>
                <a:latin typeface="+mj-lt"/>
              </a:rPr>
              <a:t>αιολικά</a:t>
            </a:r>
            <a:r>
              <a:rPr lang="el-GR" sz="1200">
                <a:solidFill>
                  <a:schemeClr val="bg1"/>
                </a:solidFill>
                <a:latin typeface="+mj-lt"/>
              </a:rPr>
              <a:t> και </a:t>
            </a:r>
            <a:r>
              <a:rPr lang="el-GR" sz="1200" b="1">
                <a:solidFill>
                  <a:schemeClr val="bg1"/>
                </a:solidFill>
                <a:latin typeface="+mj-lt"/>
              </a:rPr>
              <a:t>8,83 </a:t>
            </a:r>
            <a:r>
              <a:rPr lang="en-US" sz="1200" b="1">
                <a:solidFill>
                  <a:schemeClr val="bg1"/>
                </a:solidFill>
                <a:latin typeface="+mj-lt"/>
              </a:rPr>
              <a:t>GW</a:t>
            </a:r>
            <a:r>
              <a:rPr lang="el-GR" sz="1200" b="1">
                <a:solidFill>
                  <a:schemeClr val="bg1"/>
                </a:solidFill>
                <a:latin typeface="+mj-lt"/>
              </a:rPr>
              <a:t> Φ/Β</a:t>
            </a:r>
            <a:r>
              <a:rPr lang="el-GR" sz="1200">
                <a:solidFill>
                  <a:schemeClr val="bg1"/>
                </a:solidFill>
                <a:latin typeface="+mj-lt"/>
              </a:rPr>
              <a:t>.</a:t>
            </a:r>
            <a:endParaRPr lang="en-US" sz="1200" b="1">
              <a:solidFill>
                <a:schemeClr val="bg1"/>
              </a:solidFill>
              <a:latin typeface="+mj-lt"/>
            </a:endParaRPr>
          </a:p>
          <a:p>
            <a:pPr marL="171450" indent="-171450" algn="just">
              <a:spcBef>
                <a:spcPts val="975"/>
              </a:spcBef>
              <a:spcAft>
                <a:spcPts val="225"/>
              </a:spcAft>
              <a:buFont typeface="Arial" panose="020B0604020202020204" pitchFamily="34" charset="0"/>
              <a:buChar char="•"/>
            </a:pPr>
            <a:r>
              <a:rPr lang="el-GR" sz="1200">
                <a:solidFill>
                  <a:schemeClr val="bg1"/>
                </a:solidFill>
                <a:latin typeface="+mj-lt"/>
              </a:rPr>
              <a:t>Το 2024 η παράγωγή ΑΠΕ και ΣΗΘΥΑ έφτασε τις 25.5 </a:t>
            </a:r>
            <a:r>
              <a:rPr lang="en-US" sz="1200">
                <a:solidFill>
                  <a:schemeClr val="bg1"/>
                </a:solidFill>
                <a:latin typeface="+mj-lt"/>
              </a:rPr>
              <a:t>TWh</a:t>
            </a:r>
            <a:r>
              <a:rPr lang="el-GR" sz="1200">
                <a:solidFill>
                  <a:schemeClr val="bg1"/>
                </a:solidFill>
                <a:latin typeface="+mj-lt"/>
              </a:rPr>
              <a:t>.</a:t>
            </a:r>
          </a:p>
          <a:p>
            <a:pPr marL="171450" indent="-171450" algn="just">
              <a:spcBef>
                <a:spcPts val="975"/>
              </a:spcBef>
              <a:spcAft>
                <a:spcPts val="225"/>
              </a:spcAft>
              <a:buFont typeface="Arial" panose="020B0604020202020204" pitchFamily="34" charset="0"/>
              <a:buChar char="•"/>
            </a:pPr>
            <a:r>
              <a:rPr lang="el-GR" sz="1200">
                <a:solidFill>
                  <a:schemeClr val="bg1"/>
                </a:solidFill>
                <a:latin typeface="+mj-lt"/>
              </a:rPr>
              <a:t>Μέχρι τον Μάρτιο του 2025 η παράγωγή ΑΠΕ και ΣΗΘΥΑ έφτασε τις 4,8 </a:t>
            </a:r>
            <a:r>
              <a:rPr lang="en-US" sz="1200">
                <a:solidFill>
                  <a:schemeClr val="bg1"/>
                </a:solidFill>
                <a:latin typeface="+mj-lt"/>
              </a:rPr>
              <a:t>TWh</a:t>
            </a:r>
            <a:r>
              <a:rPr lang="el-GR" sz="1200">
                <a:solidFill>
                  <a:schemeClr val="bg1"/>
                </a:solidFill>
                <a:latin typeface="+mj-lt"/>
              </a:rPr>
              <a:t>.</a:t>
            </a:r>
          </a:p>
        </p:txBody>
      </p:sp>
      <p:graphicFrame>
        <p:nvGraphicFramePr>
          <p:cNvPr id="56" name="Chart 55">
            <a:extLst>
              <a:ext uri="{FF2B5EF4-FFF2-40B4-BE49-F238E27FC236}">
                <a16:creationId xmlns:a16="http://schemas.microsoft.com/office/drawing/2014/main" id="{E035A32B-9ACA-644A-A679-6FF47FD177F2}"/>
              </a:ext>
            </a:extLst>
          </p:cNvPr>
          <p:cNvGraphicFramePr>
            <a:graphicFrameLocks/>
          </p:cNvGraphicFramePr>
          <p:nvPr>
            <p:extLst>
              <p:ext uri="{D42A27DB-BD31-4B8C-83A1-F6EECF244321}">
                <p14:modId xmlns:p14="http://schemas.microsoft.com/office/powerpoint/2010/main" val="2854154876"/>
              </p:ext>
            </p:extLst>
          </p:nvPr>
        </p:nvGraphicFramePr>
        <p:xfrm>
          <a:off x="-1" y="1352399"/>
          <a:ext cx="7427667" cy="2722493"/>
        </p:xfrm>
        <a:graphic>
          <a:graphicData uri="http://schemas.openxmlformats.org/drawingml/2006/chart">
            <c:chart xmlns:c="http://schemas.openxmlformats.org/drawingml/2006/chart" xmlns:r="http://schemas.openxmlformats.org/officeDocument/2006/relationships" r:id="rId3"/>
          </a:graphicData>
        </a:graphic>
      </p:graphicFrame>
      <p:sp>
        <p:nvSpPr>
          <p:cNvPr id="57" name="TextBox 56">
            <a:extLst>
              <a:ext uri="{FF2B5EF4-FFF2-40B4-BE49-F238E27FC236}">
                <a16:creationId xmlns:a16="http://schemas.microsoft.com/office/drawing/2014/main" id="{D90CBE42-A42C-0CA0-C9B0-228AD64F5C8C}"/>
              </a:ext>
            </a:extLst>
          </p:cNvPr>
          <p:cNvSpPr txBox="1"/>
          <p:nvPr/>
        </p:nvSpPr>
        <p:spPr>
          <a:xfrm>
            <a:off x="730961" y="4247412"/>
            <a:ext cx="11018127" cy="1779333"/>
          </a:xfrm>
          <a:prstGeom prst="rect">
            <a:avLst/>
          </a:prstGeom>
          <a:noFill/>
        </p:spPr>
        <p:txBody>
          <a:bodyPr wrap="square" lIns="0" tIns="0" rIns="0" bIns="0" rtlCol="0">
            <a:spAutoFit/>
          </a:bodyPr>
          <a:lstStyle/>
          <a:p>
            <a:pPr>
              <a:lnSpc>
                <a:spcPts val="2100"/>
              </a:lnSpc>
              <a:spcBef>
                <a:spcPts val="975"/>
              </a:spcBef>
              <a:spcAft>
                <a:spcPts val="225"/>
              </a:spcAft>
            </a:pPr>
            <a:r>
              <a:rPr lang="el-GR" sz="1600" b="1">
                <a:solidFill>
                  <a:schemeClr val="accent1"/>
                </a:solidFill>
                <a:latin typeface="+mj-lt"/>
              </a:rPr>
              <a:t>Προβλήματα Δικτύου</a:t>
            </a:r>
            <a:endParaRPr lang="en-US" sz="1600" b="1">
              <a:solidFill>
                <a:schemeClr val="accent1"/>
              </a:solidFill>
              <a:latin typeface="+mj-lt"/>
            </a:endParaRPr>
          </a:p>
          <a:p>
            <a:pPr marL="285750" indent="-285750" algn="just">
              <a:lnSpc>
                <a:spcPts val="2100"/>
              </a:lnSpc>
              <a:spcBef>
                <a:spcPts val="975"/>
              </a:spcBef>
              <a:spcAft>
                <a:spcPts val="225"/>
              </a:spcAft>
              <a:buClr>
                <a:schemeClr val="accent2"/>
              </a:buClr>
              <a:buFont typeface="Wingdings" panose="05000000000000000000" pitchFamily="2" charset="2"/>
              <a:buChar char="§"/>
            </a:pPr>
            <a:r>
              <a:rPr lang="el-GR" sz="1400">
                <a:solidFill>
                  <a:schemeClr val="tx2">
                    <a:lumMod val="50000"/>
                  </a:schemeClr>
                </a:solidFill>
                <a:latin typeface="+mj-lt"/>
              </a:rPr>
              <a:t>Μέχρι σήμερα, το ελληνικό δίκτυο παραμένει υπερφορτωμένο σε ορισμένες περιοχές, ιδίως στην Πελοπόννησο.</a:t>
            </a:r>
            <a:endParaRPr lang="en-US" sz="1400">
              <a:solidFill>
                <a:schemeClr val="tx2">
                  <a:lumMod val="50000"/>
                </a:schemeClr>
              </a:solidFill>
              <a:latin typeface="+mj-lt"/>
            </a:endParaRPr>
          </a:p>
          <a:p>
            <a:pPr marL="285750" indent="-285750" algn="just">
              <a:lnSpc>
                <a:spcPts val="2100"/>
              </a:lnSpc>
              <a:spcBef>
                <a:spcPts val="975"/>
              </a:spcBef>
              <a:spcAft>
                <a:spcPts val="225"/>
              </a:spcAft>
              <a:buClr>
                <a:schemeClr val="accent2"/>
              </a:buClr>
              <a:buFont typeface="Wingdings" panose="05000000000000000000" pitchFamily="2" charset="2"/>
              <a:buChar char="§"/>
            </a:pPr>
            <a:r>
              <a:rPr lang="el-GR" sz="1400">
                <a:solidFill>
                  <a:schemeClr val="tx2">
                    <a:lumMod val="50000"/>
                  </a:schemeClr>
                </a:solidFill>
                <a:latin typeface="+mj-lt"/>
              </a:rPr>
              <a:t>Η περιορισμένη διασύνδεση επιδεινώνει τις επιπτώσεις της αναντιστοιχίας μεταξύ ζήτησης και παραγωγής, με την πρώτη να βρίσκεται κυρίως στο Βορρά και τη δεύτερη στο Νότο, με αποτέλεσμα την αύξηση των τιμών εξισορρόπησης (κόστος).</a:t>
            </a:r>
          </a:p>
          <a:p>
            <a:pPr algn="just">
              <a:lnSpc>
                <a:spcPts val="2100"/>
              </a:lnSpc>
              <a:spcBef>
                <a:spcPts val="975"/>
              </a:spcBef>
              <a:spcAft>
                <a:spcPts val="225"/>
              </a:spcAft>
            </a:pPr>
            <a:endParaRPr lang="el-GR" sz="1200">
              <a:solidFill>
                <a:schemeClr val="tx2">
                  <a:lumMod val="50000"/>
                </a:schemeClr>
              </a:solidFill>
              <a:latin typeface="+mj-lt"/>
            </a:endParaRPr>
          </a:p>
        </p:txBody>
      </p:sp>
      <p:sp>
        <p:nvSpPr>
          <p:cNvPr id="58" name="TextBox 57">
            <a:extLst>
              <a:ext uri="{FF2B5EF4-FFF2-40B4-BE49-F238E27FC236}">
                <a16:creationId xmlns:a16="http://schemas.microsoft.com/office/drawing/2014/main" id="{A73C9265-B798-D9DC-3C2D-30F1477EDE0C}"/>
              </a:ext>
            </a:extLst>
          </p:cNvPr>
          <p:cNvSpPr txBox="1"/>
          <p:nvPr/>
        </p:nvSpPr>
        <p:spPr>
          <a:xfrm>
            <a:off x="1615678" y="1307025"/>
            <a:ext cx="4514770" cy="240450"/>
          </a:xfrm>
          <a:prstGeom prst="rect">
            <a:avLst/>
          </a:prstGeom>
          <a:noFill/>
        </p:spPr>
        <p:txBody>
          <a:bodyPr wrap="square" lIns="0" tIns="0" rIns="0" bIns="0" rtlCol="0">
            <a:spAutoFit/>
          </a:bodyPr>
          <a:lstStyle/>
          <a:p>
            <a:pPr algn="ctr">
              <a:lnSpc>
                <a:spcPts val="2100"/>
              </a:lnSpc>
              <a:spcBef>
                <a:spcPts val="975"/>
              </a:spcBef>
              <a:spcAft>
                <a:spcPts val="225"/>
              </a:spcAft>
            </a:pPr>
            <a:r>
              <a:rPr lang="el-GR" sz="1200">
                <a:solidFill>
                  <a:srgbClr val="0F55F5"/>
                </a:solidFill>
                <a:latin typeface="+mj-lt"/>
              </a:rPr>
              <a:t>Παραγωγή ΑΠΕ και ΣΗΘΥΑ (</a:t>
            </a:r>
            <a:r>
              <a:rPr lang="en-US" sz="1200">
                <a:solidFill>
                  <a:srgbClr val="0F55F5"/>
                </a:solidFill>
                <a:latin typeface="+mj-lt"/>
              </a:rPr>
              <a:t>GWh), </a:t>
            </a:r>
            <a:r>
              <a:rPr lang="el-GR" sz="1200">
                <a:solidFill>
                  <a:srgbClr val="0F55F5"/>
                </a:solidFill>
                <a:latin typeface="+mj-lt"/>
              </a:rPr>
              <a:t>Ιαν 2024 – Μαρ 2025</a:t>
            </a:r>
          </a:p>
        </p:txBody>
      </p:sp>
      <p:sp>
        <p:nvSpPr>
          <p:cNvPr id="2" name="TextBox 1">
            <a:extLst>
              <a:ext uri="{FF2B5EF4-FFF2-40B4-BE49-F238E27FC236}">
                <a16:creationId xmlns:a16="http://schemas.microsoft.com/office/drawing/2014/main" id="{0F67B521-8374-6300-7378-A12AF7D3E124}"/>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n-US" sz="1200" b="0">
                <a:solidFill>
                  <a:schemeClr val="tx1"/>
                </a:solidFill>
              </a:rPr>
              <a:t>HAEE</a:t>
            </a:r>
            <a:endParaRPr lang="en-US" sz="1200"/>
          </a:p>
        </p:txBody>
      </p:sp>
    </p:spTree>
    <p:extLst>
      <p:ext uri="{BB962C8B-B14F-4D97-AF65-F5344CB8AC3E}">
        <p14:creationId xmlns:p14="http://schemas.microsoft.com/office/powerpoint/2010/main" val="2994244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4E6CCE-5FDF-9607-3466-ED5C496C7CA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6D3303-853E-CCFA-F38A-8ECE3EE7FCED}"/>
              </a:ext>
            </a:extLst>
          </p:cNvPr>
          <p:cNvSpPr>
            <a:spLocks noGrp="1"/>
          </p:cNvSpPr>
          <p:nvPr>
            <p:ph type="title"/>
          </p:nvPr>
        </p:nvSpPr>
        <p:spPr>
          <a:xfrm>
            <a:off x="443372" y="379660"/>
            <a:ext cx="11305716" cy="800219"/>
          </a:xfrm>
        </p:spPr>
        <p:txBody>
          <a:bodyPr/>
          <a:lstStyle/>
          <a:p>
            <a:r>
              <a:rPr lang="el-GR">
                <a:solidFill>
                  <a:srgbClr val="0F55F5"/>
                </a:solidFill>
              </a:rPr>
              <a:t>Η σημασία της αποθήκευσης</a:t>
            </a:r>
            <a:br>
              <a:rPr lang="el-GR">
                <a:solidFill>
                  <a:srgbClr val="0F55F5"/>
                </a:solidFill>
              </a:rPr>
            </a:br>
            <a:r>
              <a:rPr kumimoji="0" lang="el-GR" sz="2000" b="0" i="0" u="none" strike="noStrike" kern="1200" cap="none" spc="0" normalizeH="0" baseline="0" noProof="0">
                <a:ln>
                  <a:noFill/>
                </a:ln>
                <a:solidFill>
                  <a:srgbClr val="0F55F5"/>
                </a:solidFill>
                <a:effectLst/>
                <a:uLnTx/>
                <a:uFillTx/>
                <a:ea typeface="+mj-ea"/>
                <a:cs typeface="+mj-cs"/>
              </a:rPr>
              <a:t>Ανάγκη για Ενεργειακή Ευελιξία</a:t>
            </a:r>
            <a:endParaRPr lang="en-US">
              <a:solidFill>
                <a:srgbClr val="0F55F5"/>
              </a:solidFill>
            </a:endParaRPr>
          </a:p>
        </p:txBody>
      </p:sp>
      <mc:AlternateContent xmlns:mc="http://schemas.openxmlformats.org/markup-compatibility/2006">
        <mc:Choice xmlns:a14="http://schemas.microsoft.com/office/drawing/2010/main" Requires="a14">
          <p:sp>
            <p:nvSpPr>
              <p:cNvPr id="55" name="TextBox 54">
                <a:extLst>
                  <a:ext uri="{FF2B5EF4-FFF2-40B4-BE49-F238E27FC236}">
                    <a16:creationId xmlns:a16="http://schemas.microsoft.com/office/drawing/2014/main" id="{E80A686C-D5FE-0689-6CDD-919A3092DF95}"/>
                  </a:ext>
                </a:extLst>
              </p:cNvPr>
              <p:cNvSpPr txBox="1"/>
              <p:nvPr/>
            </p:nvSpPr>
            <p:spPr>
              <a:xfrm>
                <a:off x="675820" y="1620198"/>
                <a:ext cx="10745035" cy="3155094"/>
              </a:xfrm>
              <a:prstGeom prst="rect">
                <a:avLst/>
              </a:prstGeom>
              <a:noFill/>
            </p:spPr>
            <p:txBody>
              <a:bodyPr wrap="square" lIns="0" tIns="0" rIns="0" bIns="0" rtlCol="0">
                <a:spAutoFit/>
              </a:bodyPr>
              <a:lstStyle/>
              <a:p>
                <a:pPr marL="342900" indent="-342900" algn="just">
                  <a:lnSpc>
                    <a:spcPts val="2100"/>
                  </a:lnSpc>
                  <a:spcBef>
                    <a:spcPts val="975"/>
                  </a:spcBef>
                  <a:spcAft>
                    <a:spcPts val="225"/>
                  </a:spcAft>
                  <a:buClr>
                    <a:schemeClr val="accent2"/>
                  </a:buClr>
                  <a:buFont typeface="Wingdings" panose="05000000000000000000" pitchFamily="2" charset="2"/>
                  <a:buChar char="§"/>
                </a:pPr>
                <a:r>
                  <a:rPr lang="el-GR" sz="2000">
                    <a:solidFill>
                      <a:schemeClr val="tx2">
                        <a:lumMod val="50000"/>
                      </a:schemeClr>
                    </a:solidFill>
                    <a:latin typeface="+mj-lt"/>
                  </a:rPr>
                  <a:t>Η αυξανόμενη διείσδυση αιολικών και Φ/Β στο σύστημα, σε συνδυασμό με την στοχαστικότατα τους, δημιουργεί υψηλότερες και πιο απρόβλεπτες απαιτήσεις εξισορρόπησης στο σύστημα.</a:t>
                </a:r>
              </a:p>
              <a:p>
                <a:pPr marL="342900" indent="-342900" algn="just">
                  <a:lnSpc>
                    <a:spcPts val="2100"/>
                  </a:lnSpc>
                  <a:spcBef>
                    <a:spcPts val="975"/>
                  </a:spcBef>
                  <a:spcAft>
                    <a:spcPts val="225"/>
                  </a:spcAft>
                  <a:buClr>
                    <a:schemeClr val="accent2"/>
                  </a:buClr>
                  <a:buFont typeface="Wingdings" panose="05000000000000000000" pitchFamily="2" charset="2"/>
                  <a:buChar char="§"/>
                </a:pPr>
                <a:r>
                  <a:rPr lang="el-GR" sz="2000">
                    <a:solidFill>
                      <a:schemeClr val="tx2">
                        <a:lumMod val="50000"/>
                      </a:schemeClr>
                    </a:solidFill>
                    <a:latin typeface="+mj-lt"/>
                  </a:rPr>
                  <a:t>Η μη-θερμική ευελιξία θεωρείται ως μια ικανή λύση χαμηλών εκπομπών </a:t>
                </a:r>
                <a14:m>
                  <m:oMath xmlns:m="http://schemas.openxmlformats.org/officeDocument/2006/math">
                    <m:r>
                      <a:rPr lang="en-US" sz="2000" b="0" i="1" smtClean="0">
                        <a:solidFill>
                          <a:schemeClr val="tx2">
                            <a:lumMod val="50000"/>
                          </a:schemeClr>
                        </a:solidFill>
                        <a:latin typeface="Cambria Math" panose="02040503050406030204" pitchFamily="18" charset="0"/>
                      </a:rPr>
                      <m:t>𝐶</m:t>
                    </m:r>
                    <m:sSub>
                      <m:sSubPr>
                        <m:ctrlPr>
                          <a:rPr lang="en-US" sz="2000" b="0" i="1" smtClean="0">
                            <a:solidFill>
                              <a:schemeClr val="tx2">
                                <a:lumMod val="50000"/>
                              </a:schemeClr>
                            </a:solidFill>
                            <a:latin typeface="Cambria Math" panose="02040503050406030204" pitchFamily="18" charset="0"/>
                          </a:rPr>
                        </m:ctrlPr>
                      </m:sSubPr>
                      <m:e>
                        <m:r>
                          <a:rPr lang="en-US" sz="2000" b="0" i="1" smtClean="0">
                            <a:solidFill>
                              <a:schemeClr val="tx2">
                                <a:lumMod val="50000"/>
                              </a:schemeClr>
                            </a:solidFill>
                            <a:latin typeface="Cambria Math" panose="02040503050406030204" pitchFamily="18" charset="0"/>
                          </a:rPr>
                          <m:t>𝑂</m:t>
                        </m:r>
                      </m:e>
                      <m:sub>
                        <m:r>
                          <a:rPr lang="en-US" sz="2000" b="0" i="1" smtClean="0">
                            <a:solidFill>
                              <a:schemeClr val="tx2">
                                <a:lumMod val="50000"/>
                              </a:schemeClr>
                            </a:solidFill>
                            <a:latin typeface="Cambria Math" panose="02040503050406030204" pitchFamily="18" charset="0"/>
                          </a:rPr>
                          <m:t>2</m:t>
                        </m:r>
                      </m:sub>
                    </m:sSub>
                  </m:oMath>
                </a14:m>
                <a:r>
                  <a:rPr lang="en-US" sz="2000">
                    <a:solidFill>
                      <a:schemeClr val="tx2">
                        <a:lumMod val="50000"/>
                      </a:schemeClr>
                    </a:solidFill>
                    <a:latin typeface="+mj-lt"/>
                  </a:rPr>
                  <a:t> </a:t>
                </a:r>
                <a:r>
                  <a:rPr lang="el-GR" sz="2000">
                    <a:solidFill>
                      <a:schemeClr val="tx2">
                        <a:lumMod val="50000"/>
                      </a:schemeClr>
                    </a:solidFill>
                    <a:latin typeface="+mj-lt"/>
                  </a:rPr>
                  <a:t>για τη διαχείριση των αιχμών και των απότομων μειώσεων της παραγωγής από ανανεώσιμες πηγές.</a:t>
                </a:r>
                <a:endParaRPr lang="en-US" sz="2000">
                  <a:solidFill>
                    <a:schemeClr val="tx2">
                      <a:lumMod val="50000"/>
                    </a:schemeClr>
                  </a:solidFill>
                  <a:latin typeface="+mj-lt"/>
                </a:endParaRPr>
              </a:p>
              <a:p>
                <a:pPr marL="342900" indent="-342900" algn="just">
                  <a:lnSpc>
                    <a:spcPts val="2100"/>
                  </a:lnSpc>
                  <a:spcBef>
                    <a:spcPts val="975"/>
                  </a:spcBef>
                  <a:spcAft>
                    <a:spcPts val="225"/>
                  </a:spcAft>
                  <a:buClr>
                    <a:schemeClr val="accent2"/>
                  </a:buClr>
                  <a:buFont typeface="Wingdings" panose="05000000000000000000" pitchFamily="2" charset="2"/>
                  <a:buChar char="§"/>
                </a:pPr>
                <a:r>
                  <a:rPr lang="en-US" sz="2000">
                    <a:solidFill>
                      <a:schemeClr val="tx2">
                        <a:lumMod val="50000"/>
                      </a:schemeClr>
                    </a:solidFill>
                    <a:latin typeface="+mj-lt"/>
                  </a:rPr>
                  <a:t>H</a:t>
                </a:r>
                <a:r>
                  <a:rPr lang="el-GR" sz="2000">
                    <a:solidFill>
                      <a:schemeClr val="tx2">
                        <a:lumMod val="50000"/>
                      </a:schemeClr>
                    </a:solidFill>
                    <a:latin typeface="+mj-lt"/>
                  </a:rPr>
                  <a:t> απόσυρση των θερμικών παραγωγών και η αύξηση των ΑΠΕ σημαίνει μικρότερη αδράνεια στο δίκτυο, καθιστώντας το πιο ευάλωτο σε απρόβλεπτες μεταβολές της συχνότητας.</a:t>
                </a:r>
              </a:p>
              <a:p>
                <a:pPr marL="342900" indent="-342900" algn="just">
                  <a:lnSpc>
                    <a:spcPts val="2100"/>
                  </a:lnSpc>
                  <a:spcBef>
                    <a:spcPts val="975"/>
                  </a:spcBef>
                  <a:spcAft>
                    <a:spcPts val="225"/>
                  </a:spcAft>
                  <a:buClr>
                    <a:schemeClr val="accent2"/>
                  </a:buClr>
                  <a:buFont typeface="Wingdings" panose="05000000000000000000" pitchFamily="2" charset="2"/>
                  <a:buChar char="§"/>
                </a:pPr>
                <a:r>
                  <a:rPr lang="el-GR" sz="2000">
                    <a:solidFill>
                      <a:schemeClr val="tx2">
                        <a:lumMod val="50000"/>
                      </a:schemeClr>
                    </a:solidFill>
                    <a:latin typeface="+mj-lt"/>
                  </a:rPr>
                  <a:t>Οι εναπομείναντες θερμικοί σταθμοί λειτουργούν για λιγότερες ώρες στις χονδρικές αγορές ηλεκτρικής ενέργειας, αποτέλεσμα αυτού είναι οι διαχειριστές συστημάτων πιθανότατα να αντιμετωπίσουν ανεπαρκή παροχή από τους παραδοσιακούς παρόχους υπηρεσιών συστήματος, όπως η ρύθμιση της τάσης και η απόκριση συχνότητας.</a:t>
                </a:r>
                <a:endParaRPr lang="el-GR" sz="2400">
                  <a:solidFill>
                    <a:schemeClr val="tx2">
                      <a:lumMod val="50000"/>
                    </a:schemeClr>
                  </a:solidFill>
                  <a:latin typeface="+mj-lt"/>
                </a:endParaRPr>
              </a:p>
            </p:txBody>
          </p:sp>
        </mc:Choice>
        <mc:Fallback>
          <p:sp>
            <p:nvSpPr>
              <p:cNvPr id="55" name="TextBox 54">
                <a:extLst>
                  <a:ext uri="{FF2B5EF4-FFF2-40B4-BE49-F238E27FC236}">
                    <a16:creationId xmlns:a16="http://schemas.microsoft.com/office/drawing/2014/main" id="{E80A686C-D5FE-0689-6CDD-919A3092DF95}"/>
                  </a:ext>
                </a:extLst>
              </p:cNvPr>
              <p:cNvSpPr txBox="1">
                <a:spLocks noRot="1" noChangeAspect="1" noMove="1" noResize="1" noEditPoints="1" noAdjustHandles="1" noChangeArrowheads="1" noChangeShapeType="1" noTextEdit="1"/>
              </p:cNvSpPr>
              <p:nvPr/>
            </p:nvSpPr>
            <p:spPr>
              <a:xfrm>
                <a:off x="675820" y="1620198"/>
                <a:ext cx="10745035" cy="3155094"/>
              </a:xfrm>
              <a:prstGeom prst="rect">
                <a:avLst/>
              </a:prstGeom>
              <a:blipFill>
                <a:blip r:embed="rId3"/>
                <a:stretch>
                  <a:fillRect l="-1362" t="-3675" r="-1476" b="-4062"/>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B630288C-AF95-AE59-993E-1D7D20A61604}"/>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n-US" sz="1200" b="0">
                <a:solidFill>
                  <a:schemeClr val="tx1"/>
                </a:solidFill>
              </a:rPr>
              <a:t>HAEE</a:t>
            </a:r>
            <a:endParaRPr lang="en-US" sz="1200"/>
          </a:p>
        </p:txBody>
      </p:sp>
    </p:spTree>
    <p:extLst>
      <p:ext uri="{BB962C8B-B14F-4D97-AF65-F5344CB8AC3E}">
        <p14:creationId xmlns:p14="http://schemas.microsoft.com/office/powerpoint/2010/main" val="752467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A37493-9F4E-E29A-0EF2-A456065FEBD5}"/>
              </a:ext>
            </a:extLst>
          </p:cNvPr>
          <p:cNvSpPr>
            <a:spLocks noGrp="1"/>
          </p:cNvSpPr>
          <p:nvPr>
            <p:ph type="sldNum" sz="quarter" idx="12"/>
          </p:nvPr>
        </p:nvSpPr>
        <p:spPr/>
        <p:txBody>
          <a:bodyPr/>
          <a:lstStyle/>
          <a:p>
            <a:fld id="{4531D9DC-ADF0-4D0A-8902-0133E3C6D94B}" type="slidenum">
              <a:rPr lang="en-US" smtClean="0"/>
              <a:pPr/>
              <a:t>3</a:t>
            </a:fld>
            <a:endParaRPr lang="en-US"/>
          </a:p>
        </p:txBody>
      </p:sp>
      <p:sp>
        <p:nvSpPr>
          <p:cNvPr id="7" name="Title 6">
            <a:extLst>
              <a:ext uri="{FF2B5EF4-FFF2-40B4-BE49-F238E27FC236}">
                <a16:creationId xmlns:a16="http://schemas.microsoft.com/office/drawing/2014/main" id="{C862014B-A5FB-9319-F4EE-C15BD301C912}"/>
              </a:ext>
            </a:extLst>
          </p:cNvPr>
          <p:cNvSpPr>
            <a:spLocks noGrp="1"/>
          </p:cNvSpPr>
          <p:nvPr>
            <p:ph type="title"/>
          </p:nvPr>
        </p:nvSpPr>
        <p:spPr/>
        <p:txBody>
          <a:bodyPr/>
          <a:lstStyle/>
          <a:p>
            <a:r>
              <a:rPr lang="el-GR">
                <a:solidFill>
                  <a:srgbClr val="0F55F5"/>
                </a:solidFill>
              </a:rPr>
              <a:t>Α</a:t>
            </a:r>
            <a:r>
              <a:rPr lang="en-US" err="1">
                <a:solidFill>
                  <a:srgbClr val="0F55F5"/>
                </a:solidFill>
              </a:rPr>
              <a:t>genda</a:t>
            </a:r>
            <a:endParaRPr lang="en-US"/>
          </a:p>
        </p:txBody>
      </p:sp>
      <p:sp>
        <p:nvSpPr>
          <p:cNvPr id="4" name="TextBox 3">
            <a:extLst>
              <a:ext uri="{FF2B5EF4-FFF2-40B4-BE49-F238E27FC236}">
                <a16:creationId xmlns:a16="http://schemas.microsoft.com/office/drawing/2014/main" id="{0377CD13-CB06-623B-AB1A-462749512A6F}"/>
              </a:ext>
            </a:extLst>
          </p:cNvPr>
          <p:cNvSpPr txBox="1"/>
          <p:nvPr/>
        </p:nvSpPr>
        <p:spPr>
          <a:xfrm>
            <a:off x="569372" y="1555768"/>
            <a:ext cx="7772371" cy="3467616"/>
          </a:xfrm>
          <a:prstGeom prst="rect">
            <a:avLst/>
          </a:prstGeom>
          <a:noFill/>
        </p:spPr>
        <p:txBody>
          <a:bodyPr wrap="square">
            <a:spAutoFit/>
          </a:bodyPr>
          <a:lstStyle/>
          <a:p>
            <a:pPr marL="285750" indent="-285750" algn="l" fontAlgn="base">
              <a:lnSpc>
                <a:spcPct val="200000"/>
              </a:lnSpc>
              <a:buFont typeface="Wingdings" panose="05000000000000000000" pitchFamily="2" charset="2"/>
              <a:buChar char="§"/>
            </a:pPr>
            <a:r>
              <a:rPr lang="el-GR" sz="1600"/>
              <a:t>Επισκόπηση αποθήκευσης: Τεχνολογίες και ρυθμιστικά πλαίσια στην ΕΕ και την Ελλάδα.</a:t>
            </a:r>
            <a:endParaRPr lang="en-US" sz="1600"/>
          </a:p>
          <a:p>
            <a:pPr marL="285750" indent="-285750" algn="l" fontAlgn="base">
              <a:lnSpc>
                <a:spcPct val="200000"/>
              </a:lnSpc>
              <a:buFont typeface="Wingdings" panose="05000000000000000000" pitchFamily="2" charset="2"/>
              <a:buChar char="§"/>
            </a:pPr>
            <a:r>
              <a:rPr lang="el-GR" sz="1600"/>
              <a:t>Συμμετοχή των ΑΠΕ και της αποθήκευσης στην αγορά.</a:t>
            </a:r>
            <a:endParaRPr lang="en-US" sz="1600"/>
          </a:p>
          <a:p>
            <a:pPr marL="285750" indent="-285750" algn="l" fontAlgn="base">
              <a:lnSpc>
                <a:spcPct val="200000"/>
              </a:lnSpc>
              <a:buFont typeface="Wingdings" panose="05000000000000000000" pitchFamily="2" charset="2"/>
              <a:buChar char="§"/>
            </a:pPr>
            <a:r>
              <a:rPr lang="el-GR" sz="1600"/>
              <a:t>Περιορισμοί ΑΠΕ στην Ελλάδα: Χαμένα έσοδα, ενέργεια και ο ρόλος των τεχνολογιών αποθήκευσης.</a:t>
            </a:r>
            <a:endParaRPr lang="en-US" sz="1600"/>
          </a:p>
          <a:p>
            <a:pPr marL="285750" indent="-285750" algn="l" fontAlgn="base">
              <a:lnSpc>
                <a:spcPct val="200000"/>
              </a:lnSpc>
              <a:buFont typeface="Wingdings" panose="05000000000000000000" pitchFamily="2" charset="2"/>
              <a:buChar char="§"/>
            </a:pPr>
            <a:r>
              <a:rPr lang="el-GR" sz="1600"/>
              <a:t>Κρίσιμα υλικά για την αποθήκευση: Εφοδιαστική αλυσίδα και σημεία συμφόρησης για την ΕΕ.</a:t>
            </a:r>
          </a:p>
        </p:txBody>
      </p:sp>
    </p:spTree>
    <p:extLst>
      <p:ext uri="{BB962C8B-B14F-4D97-AF65-F5344CB8AC3E}">
        <p14:creationId xmlns:p14="http://schemas.microsoft.com/office/powerpoint/2010/main" val="3457057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ACAA2-B153-0869-FEFA-EC94B6CA609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15B1F7E-C906-0284-A791-AB7E3C6CEE26}"/>
              </a:ext>
            </a:extLst>
          </p:cNvPr>
          <p:cNvSpPr>
            <a:spLocks noGrp="1"/>
          </p:cNvSpPr>
          <p:nvPr>
            <p:ph type="title"/>
          </p:nvPr>
        </p:nvSpPr>
        <p:spPr>
          <a:xfrm>
            <a:off x="443372" y="379660"/>
            <a:ext cx="11305716" cy="800219"/>
          </a:xfrm>
        </p:spPr>
        <p:txBody>
          <a:bodyPr/>
          <a:lstStyle/>
          <a:p>
            <a:r>
              <a:rPr lang="el-GR">
                <a:solidFill>
                  <a:srgbClr val="0F55F5"/>
                </a:solidFill>
              </a:rPr>
              <a:t>Η σημασία της αποθήκευσης</a:t>
            </a:r>
            <a:br>
              <a:rPr lang="el-GR">
                <a:solidFill>
                  <a:srgbClr val="0F55F5"/>
                </a:solidFill>
              </a:rPr>
            </a:br>
            <a:r>
              <a:rPr kumimoji="0" lang="el-GR" sz="2000" b="0" i="0" u="none" strike="noStrike" kern="1200" cap="none" spc="0" normalizeH="0" baseline="0" noProof="0">
                <a:ln>
                  <a:noFill/>
                </a:ln>
                <a:solidFill>
                  <a:srgbClr val="0F55F5"/>
                </a:solidFill>
                <a:effectLst/>
                <a:uLnTx/>
                <a:uFillTx/>
                <a:ea typeface="+mj-ea"/>
                <a:cs typeface="+mj-cs"/>
              </a:rPr>
              <a:t>Ανάγκη για Αποθήκευση μέσω μπαταριών</a:t>
            </a:r>
            <a:endParaRPr lang="en-US">
              <a:solidFill>
                <a:srgbClr val="0F55F5"/>
              </a:solidFill>
            </a:endParaRPr>
          </a:p>
        </p:txBody>
      </p:sp>
      <p:sp>
        <p:nvSpPr>
          <p:cNvPr id="5" name="TextBox 4">
            <a:extLst>
              <a:ext uri="{FF2B5EF4-FFF2-40B4-BE49-F238E27FC236}">
                <a16:creationId xmlns:a16="http://schemas.microsoft.com/office/drawing/2014/main" id="{47EB51BD-EB63-C6D8-51C0-FA4FA68B9154}"/>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n-US" sz="1200" b="0">
                <a:solidFill>
                  <a:schemeClr val="tx1"/>
                </a:solidFill>
              </a:rPr>
              <a:t>HAEE</a:t>
            </a:r>
            <a:endParaRPr lang="en-US" sz="1200"/>
          </a:p>
        </p:txBody>
      </p:sp>
      <p:sp>
        <p:nvSpPr>
          <p:cNvPr id="2" name="TextBox 1">
            <a:extLst>
              <a:ext uri="{FF2B5EF4-FFF2-40B4-BE49-F238E27FC236}">
                <a16:creationId xmlns:a16="http://schemas.microsoft.com/office/drawing/2014/main" id="{79EDFEA2-A4B9-F8A6-E7EF-3D114E5D37C4}"/>
              </a:ext>
            </a:extLst>
          </p:cNvPr>
          <p:cNvSpPr txBox="1"/>
          <p:nvPr/>
        </p:nvSpPr>
        <p:spPr>
          <a:xfrm>
            <a:off x="932350" y="1684177"/>
            <a:ext cx="4799357" cy="2154436"/>
          </a:xfrm>
          <a:prstGeom prst="rect">
            <a:avLst/>
          </a:prstGeom>
          <a:noFill/>
        </p:spPr>
        <p:txBody>
          <a:bodyPr wrap="square" lIns="0" tIns="0" rIns="0" bIns="0" rtlCol="0">
            <a:spAutoFit/>
          </a:bodyPr>
          <a:lstStyle/>
          <a:p>
            <a:pPr marL="9049" marR="3810" algn="ctr"/>
            <a:r>
              <a:rPr lang="el-GR" b="1" spc="-4">
                <a:solidFill>
                  <a:srgbClr val="FFC000"/>
                </a:solidFill>
                <a:latin typeface="+mj-lt"/>
                <a:cs typeface="Calibri"/>
              </a:rPr>
              <a:t>Μπαταρίες</a:t>
            </a:r>
            <a:endParaRPr lang="en-GB" b="1" spc="-4">
              <a:solidFill>
                <a:srgbClr val="FFC000"/>
              </a:solidFill>
              <a:latin typeface="+mj-lt"/>
              <a:cs typeface="Calibri"/>
            </a:endParaRPr>
          </a:p>
          <a:p>
            <a:pPr algn="just">
              <a:spcBef>
                <a:spcPts val="975"/>
              </a:spcBef>
              <a:spcAft>
                <a:spcPts val="225"/>
              </a:spcAft>
            </a:pPr>
            <a:r>
              <a:rPr lang="el-GR" sz="1400">
                <a:solidFill>
                  <a:schemeClr val="tx2">
                    <a:lumMod val="50000"/>
                  </a:schemeClr>
                </a:solidFill>
                <a:latin typeface="+mj-lt"/>
              </a:rPr>
              <a:t>Εν σύγκριση με άλλες μορφές ευελιξίας, οι μπαταρίες είναι:</a:t>
            </a:r>
          </a:p>
          <a:p>
            <a:pPr marL="171450" indent="-171450" algn="just">
              <a:buClr>
                <a:schemeClr val="accent2"/>
              </a:buClr>
              <a:buFont typeface="Wingdings" panose="05000000000000000000" pitchFamily="2" charset="2"/>
              <a:buChar char="§"/>
            </a:pPr>
            <a:r>
              <a:rPr lang="el-GR" sz="1400">
                <a:solidFill>
                  <a:schemeClr val="tx2">
                    <a:lumMod val="50000"/>
                  </a:schemeClr>
                </a:solidFill>
                <a:latin typeface="+mj-lt"/>
              </a:rPr>
              <a:t>Προσαρμοστικές &amp; θεωρούνται σχετικά μικρής κλίμακας.</a:t>
            </a:r>
          </a:p>
          <a:p>
            <a:pPr marL="171450" indent="-171450" algn="just">
              <a:buClr>
                <a:schemeClr val="accent2"/>
              </a:buClr>
              <a:buFont typeface="Wingdings" panose="05000000000000000000" pitchFamily="2" charset="2"/>
              <a:buChar char="§"/>
            </a:pPr>
            <a:r>
              <a:rPr lang="el-GR" sz="1400">
                <a:solidFill>
                  <a:schemeClr val="tx2">
                    <a:lumMod val="50000"/>
                  </a:schemeClr>
                </a:solidFill>
                <a:latin typeface="+mj-lt"/>
              </a:rPr>
              <a:t>Μπορούν να αναπτυχθούν για την πρόσβαση σε πολλαπλές πηγές εσόδων.</a:t>
            </a:r>
          </a:p>
          <a:p>
            <a:pPr marL="171450" indent="-171450" algn="just">
              <a:buClr>
                <a:schemeClr val="accent2"/>
              </a:buClr>
              <a:buFont typeface="Wingdings" panose="05000000000000000000" pitchFamily="2" charset="2"/>
              <a:buChar char="§"/>
            </a:pPr>
            <a:r>
              <a:rPr lang="el-GR" sz="1400">
                <a:solidFill>
                  <a:schemeClr val="tx2">
                    <a:lumMod val="50000"/>
                  </a:schemeClr>
                </a:solidFill>
                <a:latin typeface="+mj-lt"/>
              </a:rPr>
              <a:t>Εκμεταλλεύονται σε μεγάλο βαθμό λόγω της έκρηξης των ηλεκτρικών οχημάτων.</a:t>
            </a:r>
          </a:p>
          <a:p>
            <a:pPr marL="171450" indent="-171450" algn="just">
              <a:buClr>
                <a:schemeClr val="accent2"/>
              </a:buClr>
              <a:buFont typeface="Wingdings" panose="05000000000000000000" pitchFamily="2" charset="2"/>
              <a:buChar char="§"/>
            </a:pPr>
            <a:r>
              <a:rPr lang="el-GR" sz="1400">
                <a:solidFill>
                  <a:schemeClr val="tx2">
                    <a:lumMod val="50000"/>
                  </a:schemeClr>
                </a:solidFill>
                <a:latin typeface="+mj-lt"/>
              </a:rPr>
              <a:t>Πτώση του κόστους κεφαλαίου και βελτιωμένη επιχειρηματική υπόθεση.</a:t>
            </a:r>
            <a:endParaRPr lang="el-GR" sz="1600">
              <a:solidFill>
                <a:schemeClr val="tx2">
                  <a:lumMod val="50000"/>
                </a:schemeClr>
              </a:solidFill>
              <a:latin typeface="+mj-lt"/>
            </a:endParaRPr>
          </a:p>
        </p:txBody>
      </p:sp>
      <mc:AlternateContent xmlns:mc="http://schemas.openxmlformats.org/markup-compatibility/2006">
        <mc:Choice xmlns:a14="http://schemas.microsoft.com/office/drawing/2010/main" Requires="a14">
          <p:sp>
            <p:nvSpPr>
              <p:cNvPr id="3" name="TextBox 2">
                <a:extLst>
                  <a:ext uri="{FF2B5EF4-FFF2-40B4-BE49-F238E27FC236}">
                    <a16:creationId xmlns:a16="http://schemas.microsoft.com/office/drawing/2014/main" id="{8A5097EE-9714-A8D3-A3A2-BC22BECD4276}"/>
                  </a:ext>
                </a:extLst>
              </p:cNvPr>
              <p:cNvSpPr txBox="1"/>
              <p:nvPr/>
            </p:nvSpPr>
            <p:spPr>
              <a:xfrm>
                <a:off x="6423060" y="1684177"/>
                <a:ext cx="4836590" cy="1538883"/>
              </a:xfrm>
              <a:prstGeom prst="rect">
                <a:avLst/>
              </a:prstGeom>
              <a:noFill/>
            </p:spPr>
            <p:txBody>
              <a:bodyPr wrap="square" lIns="0" tIns="0" rIns="0" bIns="0" rtlCol="0">
                <a:spAutoFit/>
              </a:bodyPr>
              <a:lstStyle/>
              <a:p>
                <a:pPr marL="9049" marR="3810" algn="ctr"/>
                <a:r>
                  <a:rPr lang="en-US" b="1" spc="-4">
                    <a:solidFill>
                      <a:srgbClr val="FF0000"/>
                    </a:solidFill>
                    <a:latin typeface="+mj-lt"/>
                    <a:cs typeface="Calibri"/>
                  </a:rPr>
                  <a:t>Gas peaking plants </a:t>
                </a:r>
                <a:endParaRPr lang="el-GR" b="1" spc="-4">
                  <a:solidFill>
                    <a:srgbClr val="FF0000"/>
                  </a:solidFill>
                  <a:latin typeface="+mj-lt"/>
                  <a:cs typeface="Calibri"/>
                </a:endParaRPr>
              </a:p>
              <a:p>
                <a:pPr marL="9049" marR="3810" algn="ctr"/>
                <a:endParaRPr lang="el-GR" sz="1200" b="1" spc="-4">
                  <a:solidFill>
                    <a:srgbClr val="FF0000"/>
                  </a:solidFill>
                  <a:latin typeface="+mj-lt"/>
                  <a:cs typeface="Calibri"/>
                </a:endParaRPr>
              </a:p>
              <a:p>
                <a:pPr marL="9049" marR="3810"/>
                <a:r>
                  <a:rPr lang="el-GR" sz="1400">
                    <a:solidFill>
                      <a:schemeClr val="tx2">
                        <a:lumMod val="50000"/>
                      </a:schemeClr>
                    </a:solidFill>
                    <a:latin typeface="+mj-lt"/>
                  </a:rPr>
                  <a:t>Προσφέρουν παρόμοια οφέλη με τις μπαταρίες, αλλά:</a:t>
                </a:r>
              </a:p>
              <a:p>
                <a:pPr marL="285750" indent="-285750" algn="just">
                  <a:buClr>
                    <a:schemeClr val="accent2"/>
                  </a:buClr>
                  <a:buFont typeface="Wingdings" panose="05000000000000000000" pitchFamily="2" charset="2"/>
                  <a:buChar char="§"/>
                </a:pPr>
                <a:r>
                  <a:rPr lang="el-GR" sz="1400">
                    <a:solidFill>
                      <a:schemeClr val="tx2">
                        <a:lumMod val="50000"/>
                      </a:schemeClr>
                    </a:solidFill>
                    <a:latin typeface="+mj-lt"/>
                  </a:rPr>
                  <a:t>Δεν προσφέρουν το ίδιο επίπεδο γρήγορης ευελιξίας με τις μπαταρίες.</a:t>
                </a:r>
              </a:p>
              <a:p>
                <a:pPr marL="285750" indent="-285750" algn="just">
                  <a:buClr>
                    <a:schemeClr val="accent2"/>
                  </a:buClr>
                  <a:buFont typeface="Wingdings" panose="05000000000000000000" pitchFamily="2" charset="2"/>
                  <a:buChar char="§"/>
                </a:pPr>
                <a:r>
                  <a:rPr lang="el-GR" sz="1400">
                    <a:solidFill>
                      <a:schemeClr val="tx2">
                        <a:lumMod val="50000"/>
                      </a:schemeClr>
                    </a:solidFill>
                    <a:latin typeface="+mj-lt"/>
                  </a:rPr>
                  <a:t>Δεν είναι τόσο εύχρηστα.</a:t>
                </a:r>
              </a:p>
              <a:p>
                <a:pPr marL="285750" indent="-285750" algn="just">
                  <a:buClr>
                    <a:schemeClr val="accent2"/>
                  </a:buClr>
                  <a:buFont typeface="Wingdings" panose="05000000000000000000" pitchFamily="2" charset="2"/>
                  <a:buChar char="§"/>
                </a:pPr>
                <a:r>
                  <a:rPr lang="el-GR" sz="1400">
                    <a:solidFill>
                      <a:schemeClr val="tx2">
                        <a:lumMod val="50000"/>
                      </a:schemeClr>
                    </a:solidFill>
                    <a:latin typeface="+mj-lt"/>
                  </a:rPr>
                  <a:t>Δεν θεωρούνται εξίσου χαμηλών εκπομπών </a:t>
                </a:r>
                <a14:m>
                  <m:oMath xmlns:m="http://schemas.openxmlformats.org/officeDocument/2006/math">
                    <m:r>
                      <a:rPr lang="en-US" sz="1400" b="0" i="1" smtClean="0">
                        <a:solidFill>
                          <a:schemeClr val="tx2">
                            <a:lumMod val="50000"/>
                          </a:schemeClr>
                        </a:solidFill>
                        <a:latin typeface="Cambria Math" panose="02040503050406030204" pitchFamily="18" charset="0"/>
                      </a:rPr>
                      <m:t>𝐶</m:t>
                    </m:r>
                    <m:sSub>
                      <m:sSubPr>
                        <m:ctrlPr>
                          <a:rPr lang="en-US" sz="1400" b="0" i="1" smtClean="0">
                            <a:solidFill>
                              <a:schemeClr val="tx2">
                                <a:lumMod val="50000"/>
                              </a:schemeClr>
                            </a:solidFill>
                            <a:latin typeface="Cambria Math" panose="02040503050406030204" pitchFamily="18" charset="0"/>
                          </a:rPr>
                        </m:ctrlPr>
                      </m:sSubPr>
                      <m:e>
                        <m:r>
                          <a:rPr lang="en-US" sz="1400" b="0" i="1" smtClean="0">
                            <a:solidFill>
                              <a:schemeClr val="tx2">
                                <a:lumMod val="50000"/>
                              </a:schemeClr>
                            </a:solidFill>
                            <a:latin typeface="Cambria Math" panose="02040503050406030204" pitchFamily="18" charset="0"/>
                          </a:rPr>
                          <m:t>𝑂</m:t>
                        </m:r>
                      </m:e>
                      <m:sub>
                        <m:r>
                          <a:rPr lang="en-US" sz="1400" b="0" i="1" smtClean="0">
                            <a:solidFill>
                              <a:schemeClr val="tx2">
                                <a:lumMod val="50000"/>
                              </a:schemeClr>
                            </a:solidFill>
                            <a:latin typeface="Cambria Math" panose="02040503050406030204" pitchFamily="18" charset="0"/>
                          </a:rPr>
                          <m:t>2</m:t>
                        </m:r>
                      </m:sub>
                    </m:sSub>
                  </m:oMath>
                </a14:m>
                <a:r>
                  <a:rPr lang="el-GR" sz="1400">
                    <a:solidFill>
                      <a:schemeClr val="tx2">
                        <a:lumMod val="50000"/>
                      </a:schemeClr>
                    </a:solidFill>
                    <a:latin typeface="+mj-lt"/>
                  </a:rPr>
                  <a:t>.</a:t>
                </a:r>
                <a:endParaRPr lang="el-GR" sz="1600">
                  <a:solidFill>
                    <a:schemeClr val="tx2">
                      <a:lumMod val="50000"/>
                    </a:schemeClr>
                  </a:solidFill>
                  <a:latin typeface="+mj-lt"/>
                </a:endParaRPr>
              </a:p>
            </p:txBody>
          </p:sp>
        </mc:Choice>
        <mc:Fallback>
          <p:sp>
            <p:nvSpPr>
              <p:cNvPr id="3" name="TextBox 2">
                <a:extLst>
                  <a:ext uri="{FF2B5EF4-FFF2-40B4-BE49-F238E27FC236}">
                    <a16:creationId xmlns:a16="http://schemas.microsoft.com/office/drawing/2014/main" id="{8A5097EE-9714-A8D3-A3A2-BC22BECD4276}"/>
                  </a:ext>
                </a:extLst>
              </p:cNvPr>
              <p:cNvSpPr txBox="1">
                <a:spLocks noRot="1" noChangeAspect="1" noMove="1" noResize="1" noEditPoints="1" noAdjustHandles="1" noChangeArrowheads="1" noChangeShapeType="1" noTextEdit="1"/>
              </p:cNvSpPr>
              <p:nvPr/>
            </p:nvSpPr>
            <p:spPr>
              <a:xfrm>
                <a:off x="6423060" y="1684177"/>
                <a:ext cx="4836590" cy="1538883"/>
              </a:xfrm>
              <a:prstGeom prst="rect">
                <a:avLst/>
              </a:prstGeom>
              <a:blipFill>
                <a:blip r:embed="rId3"/>
                <a:stretch>
                  <a:fillRect l="-2144" t="-5138" r="-2270" b="-5929"/>
                </a:stretch>
              </a:blipFill>
            </p:spPr>
            <p:txBody>
              <a:bodyPr/>
              <a:lstStyle/>
              <a:p>
                <a:r>
                  <a:rPr lang="en-US">
                    <a:noFill/>
                  </a:rPr>
                  <a:t> </a:t>
                </a:r>
              </a:p>
            </p:txBody>
          </p:sp>
        </mc:Fallback>
      </mc:AlternateContent>
      <p:pic>
        <p:nvPicPr>
          <p:cNvPr id="4" name="Picture 3" descr="A large white building with many pipes&#10;&#10;Description automatically generated with medium confidence">
            <a:extLst>
              <a:ext uri="{FF2B5EF4-FFF2-40B4-BE49-F238E27FC236}">
                <a16:creationId xmlns:a16="http://schemas.microsoft.com/office/drawing/2014/main" id="{866BAA7E-6A7A-2FA3-B23A-4C850F49F31C}"/>
              </a:ext>
            </a:extLst>
          </p:cNvPr>
          <p:cNvPicPr>
            <a:picLocks noChangeAspect="1"/>
          </p:cNvPicPr>
          <p:nvPr/>
        </p:nvPicPr>
        <p:blipFill>
          <a:blip r:embed="rId4"/>
          <a:stretch>
            <a:fillRect/>
          </a:stretch>
        </p:blipFill>
        <p:spPr>
          <a:xfrm>
            <a:off x="7143659" y="4409596"/>
            <a:ext cx="3169932" cy="1783086"/>
          </a:xfrm>
          <a:prstGeom prst="rect">
            <a:avLst/>
          </a:prstGeom>
        </p:spPr>
      </p:pic>
      <p:pic>
        <p:nvPicPr>
          <p:cNvPr id="7" name="Picture 6">
            <a:extLst>
              <a:ext uri="{FF2B5EF4-FFF2-40B4-BE49-F238E27FC236}">
                <a16:creationId xmlns:a16="http://schemas.microsoft.com/office/drawing/2014/main" id="{E344F74B-4287-08F5-4F1E-CE043F362DFD}"/>
              </a:ext>
            </a:extLst>
          </p:cNvPr>
          <p:cNvPicPr>
            <a:picLocks noChangeAspect="1"/>
          </p:cNvPicPr>
          <p:nvPr/>
        </p:nvPicPr>
        <p:blipFill rotWithShape="1">
          <a:blip r:embed="rId5"/>
          <a:srcRect l="8758" t="26102" r="7965" b="3284"/>
          <a:stretch/>
        </p:blipFill>
        <p:spPr>
          <a:xfrm>
            <a:off x="1700609" y="4409596"/>
            <a:ext cx="2821910" cy="1764716"/>
          </a:xfrm>
          <a:prstGeom prst="rect">
            <a:avLst/>
          </a:prstGeom>
        </p:spPr>
      </p:pic>
    </p:spTree>
    <p:extLst>
      <p:ext uri="{BB962C8B-B14F-4D97-AF65-F5344CB8AC3E}">
        <p14:creationId xmlns:p14="http://schemas.microsoft.com/office/powerpoint/2010/main" val="28733288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D6702D-8968-8080-5CF6-88FEAF90C6A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ADDE974-9743-9921-F06E-98933B4D6811}"/>
              </a:ext>
            </a:extLst>
          </p:cNvPr>
          <p:cNvSpPr>
            <a:spLocks noGrp="1"/>
          </p:cNvSpPr>
          <p:nvPr>
            <p:ph type="title"/>
          </p:nvPr>
        </p:nvSpPr>
        <p:spPr>
          <a:xfrm>
            <a:off x="443372" y="379660"/>
            <a:ext cx="11305716" cy="492443"/>
          </a:xfrm>
        </p:spPr>
        <p:txBody>
          <a:bodyPr/>
          <a:lstStyle/>
          <a:p>
            <a:r>
              <a:rPr lang="el-GR">
                <a:solidFill>
                  <a:srgbClr val="0F55F5"/>
                </a:solidFill>
              </a:rPr>
              <a:t>Εφαρμογές Αποθήκευσης Ενέργειας</a:t>
            </a:r>
            <a:endParaRPr lang="en-US">
              <a:solidFill>
                <a:srgbClr val="0F55F5"/>
              </a:solidFill>
            </a:endParaRPr>
          </a:p>
        </p:txBody>
      </p:sp>
      <p:sp>
        <p:nvSpPr>
          <p:cNvPr id="2" name="TextBox 1">
            <a:extLst>
              <a:ext uri="{FF2B5EF4-FFF2-40B4-BE49-F238E27FC236}">
                <a16:creationId xmlns:a16="http://schemas.microsoft.com/office/drawing/2014/main" id="{77AE5F57-555D-1C8C-C7CD-03973BBC53C0}"/>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n-US" sz="1200" b="0">
                <a:solidFill>
                  <a:schemeClr val="tx1"/>
                </a:solidFill>
              </a:rPr>
              <a:t>HAEE</a:t>
            </a:r>
            <a:endParaRPr lang="en-US" sz="1200"/>
          </a:p>
        </p:txBody>
      </p:sp>
      <p:sp>
        <p:nvSpPr>
          <p:cNvPr id="3" name="Rectangle 2">
            <a:extLst>
              <a:ext uri="{FF2B5EF4-FFF2-40B4-BE49-F238E27FC236}">
                <a16:creationId xmlns:a16="http://schemas.microsoft.com/office/drawing/2014/main" id="{0C182F84-57AA-6177-89EB-8E5A09395902}"/>
              </a:ext>
            </a:extLst>
          </p:cNvPr>
          <p:cNvSpPr/>
          <p:nvPr/>
        </p:nvSpPr>
        <p:spPr>
          <a:xfrm>
            <a:off x="550718" y="1060794"/>
            <a:ext cx="3356264" cy="51830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tx1"/>
                </a:solidFill>
              </a:rPr>
              <a:t>Παρόν</a:t>
            </a:r>
            <a:endParaRPr lang="el-GR" sz="1600" b="1">
              <a:solidFill>
                <a:schemeClr val="tx1"/>
              </a:solidFill>
            </a:endParaRPr>
          </a:p>
          <a:p>
            <a:pPr marL="9525">
              <a:lnSpc>
                <a:spcPct val="150000"/>
              </a:lnSpc>
            </a:pPr>
            <a:r>
              <a:rPr lang="el-GR" sz="1600" b="1">
                <a:solidFill>
                  <a:srgbClr val="1F6F9B"/>
                </a:solidFill>
                <a:cs typeface="Calibri"/>
              </a:rPr>
              <a:t>Ευστάθεια Συστήματος: </a:t>
            </a:r>
            <a:br>
              <a:rPr lang="el-GR" sz="1600" b="1">
                <a:solidFill>
                  <a:srgbClr val="1F6F9B"/>
                </a:solidFill>
                <a:cs typeface="Calibri"/>
              </a:rPr>
            </a:br>
            <a:r>
              <a:rPr lang="el-GR" sz="1600">
                <a:solidFill>
                  <a:schemeClr val="tx2">
                    <a:lumMod val="50000"/>
                  </a:schemeClr>
                </a:solidFill>
                <a:cs typeface="Calibri"/>
              </a:rPr>
              <a:t>Διασφάλιση ότι η εγγενής ανελαστικότητα της παροχής από ΑΠΕ δεν οδηγεί σε διακοπές ρεύματος. </a:t>
            </a:r>
          </a:p>
          <a:p>
            <a:pPr marL="9525">
              <a:lnSpc>
                <a:spcPct val="150000"/>
              </a:lnSpc>
            </a:pPr>
            <a:r>
              <a:rPr lang="el-GR" sz="1600" b="1">
                <a:solidFill>
                  <a:schemeClr val="tx2">
                    <a:lumMod val="50000"/>
                  </a:schemeClr>
                </a:solidFill>
                <a:cs typeface="Calibri"/>
              </a:rPr>
              <a:t>Το σύστημα πρέπει να διατηρείται σε συχνότητα Δικτύου 50</a:t>
            </a:r>
            <a:r>
              <a:rPr lang="en-US" sz="1600" b="1" err="1">
                <a:solidFill>
                  <a:schemeClr val="tx2">
                    <a:lumMod val="50000"/>
                  </a:schemeClr>
                </a:solidFill>
                <a:cs typeface="Calibri"/>
              </a:rPr>
              <a:t>hz</a:t>
            </a:r>
            <a:r>
              <a:rPr lang="el-GR" sz="1600" b="1">
                <a:solidFill>
                  <a:schemeClr val="tx2">
                    <a:lumMod val="50000"/>
                  </a:schemeClr>
                </a:solidFill>
                <a:cs typeface="Calibri"/>
              </a:rPr>
              <a:t> </a:t>
            </a:r>
            <a:r>
              <a:rPr lang="el-GR" sz="1600">
                <a:solidFill>
                  <a:schemeClr val="tx2">
                    <a:lumMod val="50000"/>
                  </a:schemeClr>
                </a:solidFill>
                <a:cs typeface="Calibri"/>
              </a:rPr>
              <a:t>εξισορροπώντας το σε εθνικό επίπεδο, συμβάλλοντας στη διαχείριση των περιορισμών ανά περιοχή.</a:t>
            </a:r>
            <a:endParaRPr lang="en-US" sz="1600" b="1">
              <a:solidFill>
                <a:schemeClr val="tx1"/>
              </a:solidFill>
            </a:endParaRPr>
          </a:p>
        </p:txBody>
      </p:sp>
      <p:sp>
        <p:nvSpPr>
          <p:cNvPr id="4" name="Rectangle 3">
            <a:extLst>
              <a:ext uri="{FF2B5EF4-FFF2-40B4-BE49-F238E27FC236}">
                <a16:creationId xmlns:a16="http://schemas.microsoft.com/office/drawing/2014/main" id="{26D7CBD3-CDB4-B59B-1A06-3067B9003841}"/>
              </a:ext>
            </a:extLst>
          </p:cNvPr>
          <p:cNvSpPr/>
          <p:nvPr/>
        </p:nvSpPr>
        <p:spPr>
          <a:xfrm>
            <a:off x="4417868" y="1060794"/>
            <a:ext cx="3356264" cy="518305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1600" b="1">
                <a:solidFill>
                  <a:schemeClr val="tx1"/>
                </a:solidFill>
              </a:rPr>
              <a:t>Μεσοπρόθεσμα</a:t>
            </a:r>
          </a:p>
          <a:p>
            <a:pPr marL="9525">
              <a:lnSpc>
                <a:spcPct val="150000"/>
              </a:lnSpc>
            </a:pPr>
            <a:r>
              <a:rPr lang="el-GR" sz="1600" b="1">
                <a:solidFill>
                  <a:schemeClr val="accent5"/>
                </a:solidFill>
                <a:cs typeface="Calibri"/>
              </a:rPr>
              <a:t>Επάρκεια Ηλεκτρικού Δικτύου: </a:t>
            </a:r>
            <a:br>
              <a:rPr lang="el-GR" sz="1600" b="1">
                <a:solidFill>
                  <a:schemeClr val="accent5"/>
                </a:solidFill>
                <a:cs typeface="Calibri"/>
              </a:rPr>
            </a:br>
            <a:r>
              <a:rPr lang="el-GR" sz="1600">
                <a:solidFill>
                  <a:schemeClr val="tx2">
                    <a:lumMod val="50000"/>
                  </a:schemeClr>
                </a:solidFill>
                <a:cs typeface="Calibri"/>
              </a:rPr>
              <a:t>Η απαίτηση ώστε το δίκτυο να είναι σε θέση να παρέχει επαρκή ισχύ για την κάλυψη της ζήτησης ανά πάσα στιγμή.</a:t>
            </a:r>
          </a:p>
          <a:p>
            <a:pPr marL="9525">
              <a:lnSpc>
                <a:spcPct val="150000"/>
              </a:lnSpc>
            </a:pPr>
            <a:r>
              <a:rPr lang="el-GR" sz="1600" b="1">
                <a:solidFill>
                  <a:schemeClr val="tx2">
                    <a:lumMod val="50000"/>
                  </a:schemeClr>
                </a:solidFill>
                <a:cs typeface="Calibri"/>
              </a:rPr>
              <a:t>Οι τεχνολογίες αποθήκευσης και η ευελιξία του δικτύου μπορούν να συμβάλουν στην επάρκεια του ηλεκτρικού δικτύου.</a:t>
            </a:r>
          </a:p>
          <a:p>
            <a:pPr marL="9525" algn="just">
              <a:lnSpc>
                <a:spcPct val="150000"/>
              </a:lnSpc>
            </a:pPr>
            <a:endParaRPr lang="el-GR" sz="1600">
              <a:solidFill>
                <a:schemeClr val="tx2">
                  <a:lumMod val="50000"/>
                </a:schemeClr>
              </a:solidFill>
              <a:cs typeface="Calibri"/>
            </a:endParaRPr>
          </a:p>
        </p:txBody>
      </p:sp>
      <mc:AlternateContent xmlns:mc="http://schemas.openxmlformats.org/markup-compatibility/2006">
        <mc:Choice xmlns:a14="http://schemas.microsoft.com/office/drawing/2010/main" Requires="a14">
          <p:sp>
            <p:nvSpPr>
              <p:cNvPr id="5" name="Rectangle 4">
                <a:extLst>
                  <a:ext uri="{FF2B5EF4-FFF2-40B4-BE49-F238E27FC236}">
                    <a16:creationId xmlns:a16="http://schemas.microsoft.com/office/drawing/2014/main" id="{675484F2-79D7-C1E8-3FA2-DF2B620D58DD}"/>
                  </a:ext>
                </a:extLst>
              </p:cNvPr>
              <p:cNvSpPr/>
              <p:nvPr/>
            </p:nvSpPr>
            <p:spPr>
              <a:xfrm>
                <a:off x="8285018" y="1060794"/>
                <a:ext cx="3356264" cy="51830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1600" b="1">
                    <a:solidFill>
                      <a:schemeClr val="tx1"/>
                    </a:solidFill>
                  </a:rPr>
                  <a:t>Μακροπρόθεσμα</a:t>
                </a:r>
              </a:p>
              <a:p>
                <a:pPr marL="9525">
                  <a:lnSpc>
                    <a:spcPct val="150000"/>
                  </a:lnSpc>
                </a:pPr>
                <a:r>
                  <a:rPr lang="el-GR" sz="1600" b="1" spc="-19">
                    <a:solidFill>
                      <a:srgbClr val="00B050"/>
                    </a:solidFill>
                    <a:cs typeface="Calibri"/>
                  </a:rPr>
                  <a:t>Βιωσιμότητα ΑΠΕ: </a:t>
                </a:r>
              </a:p>
              <a:p>
                <a:pPr marL="9525">
                  <a:lnSpc>
                    <a:spcPct val="150000"/>
                  </a:lnSpc>
                </a:pPr>
                <a:r>
                  <a:rPr lang="el-GR" sz="1600">
                    <a:solidFill>
                      <a:schemeClr val="tx2">
                        <a:lumMod val="50000"/>
                      </a:schemeClr>
                    </a:solidFill>
                    <a:cs typeface="Calibri"/>
                  </a:rPr>
                  <a:t>Η επενδυτική υπόθεση για την ανάπτυξη των ανανεώσιμων πηγών ενέργειας και την επακόλουθη </a:t>
                </a:r>
                <a:r>
                  <a:rPr lang="el-GR" sz="1600" err="1">
                    <a:solidFill>
                      <a:schemeClr val="tx2">
                        <a:lumMod val="50000"/>
                      </a:schemeClr>
                    </a:solidFill>
                    <a:cs typeface="Calibri"/>
                  </a:rPr>
                  <a:t>απανθρακοποίησης</a:t>
                </a:r>
                <a:r>
                  <a:rPr lang="el-GR" sz="1600">
                    <a:solidFill>
                      <a:schemeClr val="tx2">
                        <a:lumMod val="50000"/>
                      </a:schemeClr>
                    </a:solidFill>
                    <a:cs typeface="Calibri"/>
                  </a:rPr>
                  <a:t> του Δικτύου βασίζεται στην ικανότητα παραγωγής θετικών οικονομικών αποδόσεων.</a:t>
                </a:r>
              </a:p>
              <a:p>
                <a:pPr marL="9525">
                  <a:lnSpc>
                    <a:spcPct val="150000"/>
                  </a:lnSpc>
                </a:pPr>
                <a:r>
                  <a:rPr lang="el-GR" sz="1600" b="1">
                    <a:solidFill>
                      <a:schemeClr val="tx2">
                        <a:lumMod val="50000"/>
                      </a:schemeClr>
                    </a:solidFill>
                    <a:cs typeface="Calibri"/>
                  </a:rPr>
                  <a:t>Η αποθήκευση μπορεί να μετατοπίσει την κατανάλωση από παραγωγή ΑΠΕ (χαμηλές τιμές και εκπομπές </a:t>
                </a:r>
                <a14:m>
                  <m:oMath xmlns:m="http://schemas.openxmlformats.org/officeDocument/2006/math">
                    <m:r>
                      <a:rPr lang="en-US" sz="1600" b="1" i="1">
                        <a:solidFill>
                          <a:schemeClr val="tx2">
                            <a:lumMod val="50000"/>
                          </a:schemeClr>
                        </a:solidFill>
                        <a:latin typeface="Cambria Math" panose="02040503050406030204" pitchFamily="18" charset="0"/>
                        <a:cs typeface="Calibri"/>
                      </a:rPr>
                      <m:t>𝑪</m:t>
                    </m:r>
                    <m:sSub>
                      <m:sSubPr>
                        <m:ctrlPr>
                          <a:rPr lang="en-US" sz="1600" b="1" i="1">
                            <a:solidFill>
                              <a:schemeClr val="tx2">
                                <a:lumMod val="50000"/>
                              </a:schemeClr>
                            </a:solidFill>
                            <a:latin typeface="Cambria Math" panose="02040503050406030204" pitchFamily="18" charset="0"/>
                            <a:cs typeface="Calibri"/>
                          </a:rPr>
                        </m:ctrlPr>
                      </m:sSubPr>
                      <m:e>
                        <m:r>
                          <a:rPr lang="en-US" sz="1600" b="1" i="1">
                            <a:solidFill>
                              <a:schemeClr val="tx2">
                                <a:lumMod val="50000"/>
                              </a:schemeClr>
                            </a:solidFill>
                            <a:latin typeface="Cambria Math" panose="02040503050406030204" pitchFamily="18" charset="0"/>
                            <a:cs typeface="Calibri"/>
                          </a:rPr>
                          <m:t>𝑶</m:t>
                        </m:r>
                      </m:e>
                      <m:sub>
                        <m:r>
                          <a:rPr lang="en-US" sz="1600" b="1" i="1">
                            <a:solidFill>
                              <a:schemeClr val="tx2">
                                <a:lumMod val="50000"/>
                              </a:schemeClr>
                            </a:solidFill>
                            <a:latin typeface="Cambria Math" panose="02040503050406030204" pitchFamily="18" charset="0"/>
                            <a:cs typeface="Calibri"/>
                          </a:rPr>
                          <m:t>𝟐</m:t>
                        </m:r>
                      </m:sub>
                    </m:sSub>
                  </m:oMath>
                </a14:m>
                <a:r>
                  <a:rPr lang="el-GR" sz="1600" b="1">
                    <a:solidFill>
                      <a:schemeClr val="tx2">
                        <a:lumMod val="50000"/>
                      </a:schemeClr>
                    </a:solidFill>
                    <a:cs typeface="Calibri"/>
                  </a:rPr>
                  <a:t>) σε περιόδους με τιμές αιχμής. </a:t>
                </a:r>
                <a:endParaRPr lang="el-GR" sz="1600">
                  <a:solidFill>
                    <a:schemeClr val="tx2">
                      <a:lumMod val="50000"/>
                    </a:schemeClr>
                  </a:solidFill>
                  <a:cs typeface="Calibri"/>
                </a:endParaRPr>
              </a:p>
            </p:txBody>
          </p:sp>
        </mc:Choice>
        <mc:Fallback>
          <p:sp>
            <p:nvSpPr>
              <p:cNvPr id="5" name="Rectangle 4">
                <a:extLst>
                  <a:ext uri="{FF2B5EF4-FFF2-40B4-BE49-F238E27FC236}">
                    <a16:creationId xmlns:a16="http://schemas.microsoft.com/office/drawing/2014/main" id="{675484F2-79D7-C1E8-3FA2-DF2B620D58DD}"/>
                  </a:ext>
                </a:extLst>
              </p:cNvPr>
              <p:cNvSpPr>
                <a:spLocks noRot="1" noChangeAspect="1" noMove="1" noResize="1" noEditPoints="1" noAdjustHandles="1" noChangeArrowheads="1" noChangeShapeType="1" noTextEdit="1"/>
              </p:cNvSpPr>
              <p:nvPr/>
            </p:nvSpPr>
            <p:spPr>
              <a:xfrm>
                <a:off x="8285018" y="1060794"/>
                <a:ext cx="3356264" cy="5183056"/>
              </a:xfrm>
              <a:prstGeom prst="rect">
                <a:avLst/>
              </a:prstGeom>
              <a:blipFill>
                <a:blip r:embed="rId3"/>
                <a:stretch>
                  <a:fillRect l="-1270" r="-363"/>
                </a:stretch>
              </a:blipFill>
              <a:ln>
                <a:noFill/>
              </a:ln>
            </p:spPr>
            <p:txBody>
              <a:bodyPr/>
              <a:lstStyle/>
              <a:p>
                <a:r>
                  <a:rPr lang="en-US">
                    <a:noFill/>
                  </a:rPr>
                  <a:t> </a:t>
                </a:r>
              </a:p>
            </p:txBody>
          </p:sp>
        </mc:Fallback>
      </mc:AlternateContent>
    </p:spTree>
    <p:extLst>
      <p:ext uri="{BB962C8B-B14F-4D97-AF65-F5344CB8AC3E}">
        <p14:creationId xmlns:p14="http://schemas.microsoft.com/office/powerpoint/2010/main" val="1312678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2B7A8-E56B-6FFF-A6F4-E368A07FF37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07ADFC7-03A8-8F24-0E41-CD30819CB427}"/>
              </a:ext>
            </a:extLst>
          </p:cNvPr>
          <p:cNvSpPr>
            <a:spLocks noGrp="1"/>
          </p:cNvSpPr>
          <p:nvPr>
            <p:ph type="title"/>
          </p:nvPr>
        </p:nvSpPr>
        <p:spPr>
          <a:xfrm>
            <a:off x="443372" y="379660"/>
            <a:ext cx="11305716" cy="492443"/>
          </a:xfrm>
        </p:spPr>
        <p:txBody>
          <a:bodyPr/>
          <a:lstStyle/>
          <a:p>
            <a:r>
              <a:rPr lang="el-GR">
                <a:solidFill>
                  <a:srgbClr val="0F55F5"/>
                </a:solidFill>
              </a:rPr>
              <a:t>Συμμετοχή Μπαταριών σε Ροές Εσόδων</a:t>
            </a:r>
            <a:endParaRPr lang="en-US">
              <a:solidFill>
                <a:srgbClr val="0F55F5"/>
              </a:solidFill>
            </a:endParaRPr>
          </a:p>
        </p:txBody>
      </p:sp>
      <p:grpSp>
        <p:nvGrpSpPr>
          <p:cNvPr id="3" name="object 4">
            <a:extLst>
              <a:ext uri="{FF2B5EF4-FFF2-40B4-BE49-F238E27FC236}">
                <a16:creationId xmlns:a16="http://schemas.microsoft.com/office/drawing/2014/main" id="{8504104C-85FC-8107-FD85-5307C2A43423}"/>
              </a:ext>
            </a:extLst>
          </p:cNvPr>
          <p:cNvGrpSpPr/>
          <p:nvPr/>
        </p:nvGrpSpPr>
        <p:grpSpPr>
          <a:xfrm>
            <a:off x="949038" y="1265607"/>
            <a:ext cx="10017350" cy="4705202"/>
            <a:chOff x="1143000" y="1895855"/>
            <a:chExt cx="9906000" cy="3627628"/>
          </a:xfrm>
        </p:grpSpPr>
        <p:sp>
          <p:nvSpPr>
            <p:cNvPr id="5" name="object 5">
              <a:extLst>
                <a:ext uri="{FF2B5EF4-FFF2-40B4-BE49-F238E27FC236}">
                  <a16:creationId xmlns:a16="http://schemas.microsoft.com/office/drawing/2014/main" id="{5125C1CA-86C8-5642-F538-7922ACC120EC}"/>
                </a:ext>
              </a:extLst>
            </p:cNvPr>
            <p:cNvSpPr/>
            <p:nvPr/>
          </p:nvSpPr>
          <p:spPr>
            <a:xfrm>
              <a:off x="5292850" y="1895855"/>
              <a:ext cx="914089" cy="1964689"/>
            </a:xfrm>
            <a:custGeom>
              <a:avLst/>
              <a:gdLst/>
              <a:ahLst/>
              <a:cxnLst/>
              <a:rect l="l" t="t" r="r" b="b"/>
              <a:pathLst>
                <a:path w="1266825" h="1964689">
                  <a:moveTo>
                    <a:pt x="1266444" y="0"/>
                  </a:moveTo>
                  <a:lnTo>
                    <a:pt x="0" y="0"/>
                  </a:lnTo>
                  <a:lnTo>
                    <a:pt x="0" y="1964436"/>
                  </a:lnTo>
                  <a:lnTo>
                    <a:pt x="1266444" y="1964436"/>
                  </a:lnTo>
                  <a:lnTo>
                    <a:pt x="1266444" y="0"/>
                  </a:lnTo>
                  <a:close/>
                </a:path>
              </a:pathLst>
            </a:custGeom>
            <a:solidFill>
              <a:schemeClr val="accent3"/>
            </a:solidFill>
          </p:spPr>
          <p:txBody>
            <a:bodyPr wrap="square" lIns="0" tIns="0" rIns="0" bIns="0" rtlCol="0"/>
            <a:lstStyle/>
            <a:p>
              <a:endParaRPr sz="1200">
                <a:latin typeface="+mj-lt"/>
              </a:endParaRPr>
            </a:p>
          </p:txBody>
        </p:sp>
        <p:sp>
          <p:nvSpPr>
            <p:cNvPr id="7" name="object 6">
              <a:extLst>
                <a:ext uri="{FF2B5EF4-FFF2-40B4-BE49-F238E27FC236}">
                  <a16:creationId xmlns:a16="http://schemas.microsoft.com/office/drawing/2014/main" id="{FBFFA284-1CA7-4DE3-318B-D66A09A7569F}"/>
                </a:ext>
              </a:extLst>
            </p:cNvPr>
            <p:cNvSpPr/>
            <p:nvPr/>
          </p:nvSpPr>
          <p:spPr>
            <a:xfrm>
              <a:off x="8563100" y="1911858"/>
              <a:ext cx="1066676" cy="3601720"/>
            </a:xfrm>
            <a:custGeom>
              <a:avLst/>
              <a:gdLst/>
              <a:ahLst/>
              <a:cxnLst/>
              <a:rect l="l" t="t" r="r" b="b"/>
              <a:pathLst>
                <a:path w="1266825" h="3601720">
                  <a:moveTo>
                    <a:pt x="1266444" y="0"/>
                  </a:moveTo>
                  <a:lnTo>
                    <a:pt x="0" y="0"/>
                  </a:lnTo>
                  <a:lnTo>
                    <a:pt x="0" y="3601212"/>
                  </a:lnTo>
                  <a:lnTo>
                    <a:pt x="1266444" y="3601212"/>
                  </a:lnTo>
                  <a:lnTo>
                    <a:pt x="1266444" y="0"/>
                  </a:lnTo>
                  <a:close/>
                </a:path>
              </a:pathLst>
            </a:custGeom>
            <a:solidFill>
              <a:srgbClr val="000000"/>
            </a:solidFill>
          </p:spPr>
          <p:txBody>
            <a:bodyPr wrap="square" lIns="0" tIns="0" rIns="0" bIns="0" rtlCol="0"/>
            <a:lstStyle/>
            <a:p>
              <a:endParaRPr sz="1200">
                <a:latin typeface="+mj-lt"/>
              </a:endParaRPr>
            </a:p>
          </p:txBody>
        </p:sp>
        <p:sp>
          <p:nvSpPr>
            <p:cNvPr id="8" name="object 7">
              <a:extLst>
                <a:ext uri="{FF2B5EF4-FFF2-40B4-BE49-F238E27FC236}">
                  <a16:creationId xmlns:a16="http://schemas.microsoft.com/office/drawing/2014/main" id="{0674807E-1CED-3C75-7AB9-58484E3A7CFD}"/>
                </a:ext>
              </a:extLst>
            </p:cNvPr>
            <p:cNvSpPr/>
            <p:nvPr/>
          </p:nvSpPr>
          <p:spPr>
            <a:xfrm>
              <a:off x="8362950" y="1911857"/>
              <a:ext cx="1266825" cy="3601720"/>
            </a:xfrm>
            <a:custGeom>
              <a:avLst/>
              <a:gdLst/>
              <a:ahLst/>
              <a:cxnLst/>
              <a:rect l="l" t="t" r="r" b="b"/>
              <a:pathLst>
                <a:path w="1266825" h="3601720">
                  <a:moveTo>
                    <a:pt x="0" y="3601212"/>
                  </a:moveTo>
                  <a:lnTo>
                    <a:pt x="1266444" y="3601212"/>
                  </a:lnTo>
                  <a:lnTo>
                    <a:pt x="1266444" y="0"/>
                  </a:lnTo>
                  <a:lnTo>
                    <a:pt x="0" y="0"/>
                  </a:lnTo>
                  <a:lnTo>
                    <a:pt x="0" y="3601212"/>
                  </a:lnTo>
                  <a:close/>
                </a:path>
              </a:pathLst>
            </a:custGeom>
            <a:ln w="25400">
              <a:solidFill>
                <a:srgbClr val="909192"/>
              </a:solidFill>
            </a:ln>
          </p:spPr>
          <p:txBody>
            <a:bodyPr wrap="square" lIns="0" tIns="0" rIns="0" bIns="0" rtlCol="0"/>
            <a:lstStyle/>
            <a:p>
              <a:endParaRPr sz="1200">
                <a:latin typeface="+mj-lt"/>
              </a:endParaRPr>
            </a:p>
          </p:txBody>
        </p:sp>
        <p:sp>
          <p:nvSpPr>
            <p:cNvPr id="9" name="object 8">
              <a:extLst>
                <a:ext uri="{FF2B5EF4-FFF2-40B4-BE49-F238E27FC236}">
                  <a16:creationId xmlns:a16="http://schemas.microsoft.com/office/drawing/2014/main" id="{0B81AFE5-71CE-08AD-9F55-F92C6583030B}"/>
                </a:ext>
              </a:extLst>
            </p:cNvPr>
            <p:cNvSpPr/>
            <p:nvPr/>
          </p:nvSpPr>
          <p:spPr>
            <a:xfrm>
              <a:off x="2275333" y="3849623"/>
              <a:ext cx="898781" cy="1673860"/>
            </a:xfrm>
            <a:custGeom>
              <a:avLst/>
              <a:gdLst/>
              <a:ahLst/>
              <a:cxnLst/>
              <a:rect l="l" t="t" r="r" b="b"/>
              <a:pathLst>
                <a:path w="1266825" h="1673860">
                  <a:moveTo>
                    <a:pt x="1266444" y="0"/>
                  </a:moveTo>
                  <a:lnTo>
                    <a:pt x="0" y="0"/>
                  </a:lnTo>
                  <a:lnTo>
                    <a:pt x="0" y="1673352"/>
                  </a:lnTo>
                  <a:lnTo>
                    <a:pt x="1266444" y="1673352"/>
                  </a:lnTo>
                  <a:lnTo>
                    <a:pt x="1266444" y="0"/>
                  </a:lnTo>
                  <a:close/>
                </a:path>
              </a:pathLst>
            </a:custGeom>
            <a:solidFill>
              <a:srgbClr val="0F55F5"/>
            </a:solidFill>
          </p:spPr>
          <p:txBody>
            <a:bodyPr wrap="square" lIns="0" tIns="0" rIns="0" bIns="0" rtlCol="0"/>
            <a:lstStyle/>
            <a:p>
              <a:endParaRPr sz="1200">
                <a:latin typeface="+mj-lt"/>
              </a:endParaRPr>
            </a:p>
          </p:txBody>
        </p:sp>
        <p:sp>
          <p:nvSpPr>
            <p:cNvPr id="10" name="object 9">
              <a:extLst>
                <a:ext uri="{FF2B5EF4-FFF2-40B4-BE49-F238E27FC236}">
                  <a16:creationId xmlns:a16="http://schemas.microsoft.com/office/drawing/2014/main" id="{2AE945F2-F862-9CB6-EEC0-209DCCFAD00C}"/>
                </a:ext>
              </a:extLst>
            </p:cNvPr>
            <p:cNvSpPr/>
            <p:nvPr/>
          </p:nvSpPr>
          <p:spPr>
            <a:xfrm>
              <a:off x="1143000" y="5522976"/>
              <a:ext cx="9906000" cy="0"/>
            </a:xfrm>
            <a:custGeom>
              <a:avLst/>
              <a:gdLst/>
              <a:ahLst/>
              <a:cxnLst/>
              <a:rect l="l" t="t" r="r" b="b"/>
              <a:pathLst>
                <a:path w="9906000">
                  <a:moveTo>
                    <a:pt x="0" y="0"/>
                  </a:moveTo>
                  <a:lnTo>
                    <a:pt x="9905873" y="0"/>
                  </a:lnTo>
                </a:path>
              </a:pathLst>
            </a:custGeom>
            <a:ln w="12700">
              <a:solidFill>
                <a:srgbClr val="000000"/>
              </a:solidFill>
            </a:ln>
          </p:spPr>
          <p:txBody>
            <a:bodyPr wrap="square" lIns="0" tIns="0" rIns="0" bIns="0" rtlCol="0"/>
            <a:lstStyle/>
            <a:p>
              <a:endParaRPr sz="1200">
                <a:latin typeface="+mj-lt"/>
              </a:endParaRPr>
            </a:p>
          </p:txBody>
        </p:sp>
        <p:sp>
          <p:nvSpPr>
            <p:cNvPr id="11" name="object 10">
              <a:extLst>
                <a:ext uri="{FF2B5EF4-FFF2-40B4-BE49-F238E27FC236}">
                  <a16:creationId xmlns:a16="http://schemas.microsoft.com/office/drawing/2014/main" id="{D9DF7034-5A8D-E85D-2AF1-4E808773B27E}"/>
                </a:ext>
              </a:extLst>
            </p:cNvPr>
            <p:cNvSpPr/>
            <p:nvPr/>
          </p:nvSpPr>
          <p:spPr>
            <a:xfrm>
              <a:off x="3512820" y="1903475"/>
              <a:ext cx="4846955" cy="1946275"/>
            </a:xfrm>
            <a:custGeom>
              <a:avLst/>
              <a:gdLst/>
              <a:ahLst/>
              <a:cxnLst/>
              <a:rect l="l" t="t" r="r" b="b"/>
              <a:pathLst>
                <a:path w="4846955" h="1946275">
                  <a:moveTo>
                    <a:pt x="4846447" y="0"/>
                  </a:moveTo>
                  <a:lnTo>
                    <a:pt x="3046476" y="0"/>
                  </a:lnTo>
                </a:path>
                <a:path w="4846955" h="1946275">
                  <a:moveTo>
                    <a:pt x="1799970" y="1946148"/>
                  </a:moveTo>
                  <a:lnTo>
                    <a:pt x="0" y="1946148"/>
                  </a:lnTo>
                </a:path>
              </a:pathLst>
            </a:custGeom>
            <a:ln w="6350">
              <a:solidFill>
                <a:srgbClr val="000000"/>
              </a:solidFill>
              <a:prstDash val="sysDash"/>
            </a:ln>
          </p:spPr>
          <p:txBody>
            <a:bodyPr wrap="square" lIns="0" tIns="0" rIns="0" bIns="0" rtlCol="0"/>
            <a:lstStyle/>
            <a:p>
              <a:endParaRPr sz="1200">
                <a:latin typeface="+mj-lt"/>
              </a:endParaRPr>
            </a:p>
          </p:txBody>
        </p:sp>
      </p:grpSp>
      <p:sp>
        <p:nvSpPr>
          <p:cNvPr id="12" name="object 14">
            <a:extLst>
              <a:ext uri="{FF2B5EF4-FFF2-40B4-BE49-F238E27FC236}">
                <a16:creationId xmlns:a16="http://schemas.microsoft.com/office/drawing/2014/main" id="{DE29AC66-B822-8A80-24CB-6C983CFAD4DC}"/>
              </a:ext>
            </a:extLst>
          </p:cNvPr>
          <p:cNvSpPr txBox="1"/>
          <p:nvPr/>
        </p:nvSpPr>
        <p:spPr>
          <a:xfrm>
            <a:off x="1500862" y="1413757"/>
            <a:ext cx="2695230" cy="1848583"/>
          </a:xfrm>
          <a:prstGeom prst="rect">
            <a:avLst/>
          </a:prstGeom>
        </p:spPr>
        <p:txBody>
          <a:bodyPr vert="horz" wrap="square" lIns="0" tIns="1905" rIns="0" bIns="0" rtlCol="0">
            <a:spAutoFit/>
          </a:bodyPr>
          <a:lstStyle/>
          <a:p>
            <a:pPr>
              <a:spcBef>
                <a:spcPts val="15"/>
              </a:spcBef>
            </a:pPr>
            <a:r>
              <a:rPr lang="el-GR" sz="1200">
                <a:latin typeface="+mj-lt"/>
                <a:cs typeface="Calibri" panose="020F0502020204030204" pitchFamily="34" charset="0"/>
              </a:rPr>
              <a:t>Οι μπαταρίες μπορούν να συμμετέχουν στη χονδρική αγορά</a:t>
            </a:r>
            <a:r>
              <a:rPr lang="en-US" sz="1200">
                <a:latin typeface="+mj-lt"/>
                <a:cs typeface="Calibri" panose="020F0502020204030204" pitchFamily="34" charset="0"/>
              </a:rPr>
              <a:t> </a:t>
            </a:r>
            <a:r>
              <a:rPr lang="el-GR" sz="1200">
                <a:latin typeface="+mj-lt"/>
                <a:cs typeface="Calibri" panose="020F0502020204030204" pitchFamily="34" charset="0"/>
              </a:rPr>
              <a:t>ηλεκτρικής ενέργειας, τόσο σε επίπεδο αγοράς επόμενης μέρας, όσο και σε </a:t>
            </a:r>
            <a:r>
              <a:rPr lang="el-GR" sz="1200" err="1">
                <a:latin typeface="+mj-lt"/>
                <a:cs typeface="Calibri" panose="020F0502020204030204" pitchFamily="34" charset="0"/>
              </a:rPr>
              <a:t>ενδοημερήσια</a:t>
            </a:r>
            <a:r>
              <a:rPr lang="el-GR" sz="1200">
                <a:latin typeface="+mj-lt"/>
                <a:cs typeface="Calibri" panose="020F0502020204030204" pitchFamily="34" charset="0"/>
              </a:rPr>
              <a:t> βάση, εκμεταλλευόμενες τη μεταβλητότητα της αγοράς με την εκμετάλλευση των διαφορών ή των επαναδιαπραγματεύσεων της θέσης τους στην αγορά επόμενης μέρας, μέσω των </a:t>
            </a:r>
            <a:r>
              <a:rPr lang="el-GR" sz="1200" err="1">
                <a:latin typeface="+mj-lt"/>
                <a:cs typeface="Calibri" panose="020F0502020204030204" pitchFamily="34" charset="0"/>
              </a:rPr>
              <a:t>ενδοημερίων</a:t>
            </a:r>
            <a:r>
              <a:rPr lang="el-GR" sz="1200">
                <a:latin typeface="+mj-lt"/>
                <a:cs typeface="Calibri" panose="020F0502020204030204" pitchFamily="34" charset="0"/>
              </a:rPr>
              <a:t> αγορών.</a:t>
            </a:r>
            <a:endParaRPr sz="1200">
              <a:latin typeface="+mj-lt"/>
              <a:cs typeface="Calibri" panose="020F0502020204030204" pitchFamily="34" charset="0"/>
            </a:endParaRPr>
          </a:p>
        </p:txBody>
      </p:sp>
      <p:sp>
        <p:nvSpPr>
          <p:cNvPr id="13" name="object 15">
            <a:extLst>
              <a:ext uri="{FF2B5EF4-FFF2-40B4-BE49-F238E27FC236}">
                <a16:creationId xmlns:a16="http://schemas.microsoft.com/office/drawing/2014/main" id="{4E2D8D0F-E8B7-4D36-EA53-49CF85608689}"/>
              </a:ext>
            </a:extLst>
          </p:cNvPr>
          <p:cNvSpPr txBox="1"/>
          <p:nvPr/>
        </p:nvSpPr>
        <p:spPr>
          <a:xfrm>
            <a:off x="857251" y="6055515"/>
            <a:ext cx="2269202" cy="403572"/>
          </a:xfrm>
          <a:prstGeom prst="rect">
            <a:avLst/>
          </a:prstGeom>
        </p:spPr>
        <p:txBody>
          <a:bodyPr vert="horz" wrap="square" lIns="0" tIns="9525" rIns="0" bIns="0" rtlCol="0">
            <a:spAutoFit/>
          </a:bodyPr>
          <a:lstStyle/>
          <a:p>
            <a:pPr marL="202406" marR="3810" indent="-193358" algn="ctr">
              <a:lnSpc>
                <a:spcPct val="110000"/>
              </a:lnSpc>
              <a:spcBef>
                <a:spcPts val="75"/>
              </a:spcBef>
            </a:pPr>
            <a:r>
              <a:rPr lang="el-GR" sz="1200" b="1" spc="-4">
                <a:latin typeface="+mj-lt"/>
                <a:cs typeface="Calibri"/>
              </a:rPr>
              <a:t>Έσοδα από Χονδρική Αγορά Ηλεκτρικής Ενέργειας</a:t>
            </a:r>
            <a:endParaRPr sz="1200">
              <a:latin typeface="+mj-lt"/>
              <a:cs typeface="Calibri"/>
            </a:endParaRPr>
          </a:p>
        </p:txBody>
      </p:sp>
      <p:sp>
        <p:nvSpPr>
          <p:cNvPr id="16" name="object 16">
            <a:extLst>
              <a:ext uri="{FF2B5EF4-FFF2-40B4-BE49-F238E27FC236}">
                <a16:creationId xmlns:a16="http://schemas.microsoft.com/office/drawing/2014/main" id="{BBDF77D3-2749-7C5C-2E9F-CFBC2F6D6A8F}"/>
              </a:ext>
            </a:extLst>
          </p:cNvPr>
          <p:cNvSpPr txBox="1"/>
          <p:nvPr/>
        </p:nvSpPr>
        <p:spPr>
          <a:xfrm>
            <a:off x="8246930" y="6060756"/>
            <a:ext cx="1591943" cy="200920"/>
          </a:xfrm>
          <a:prstGeom prst="rect">
            <a:avLst/>
          </a:prstGeom>
        </p:spPr>
        <p:txBody>
          <a:bodyPr vert="horz" wrap="square" lIns="0" tIns="10001" rIns="0" bIns="0" rtlCol="0">
            <a:spAutoFit/>
          </a:bodyPr>
          <a:lstStyle/>
          <a:p>
            <a:pPr marL="202406" marR="3810" indent="-193358" algn="ctr">
              <a:lnSpc>
                <a:spcPct val="110000"/>
              </a:lnSpc>
              <a:spcBef>
                <a:spcPts val="75"/>
              </a:spcBef>
            </a:pPr>
            <a:r>
              <a:rPr lang="el-GR" sz="1200" b="1" spc="-4">
                <a:latin typeface="+mj-lt"/>
                <a:cs typeface="Calibri"/>
              </a:rPr>
              <a:t>Συνολικά Έσοδα</a:t>
            </a:r>
            <a:endParaRPr lang="en-US" sz="1200" b="1" spc="-4">
              <a:latin typeface="+mj-lt"/>
              <a:cs typeface="Calibri"/>
            </a:endParaRPr>
          </a:p>
        </p:txBody>
      </p:sp>
      <p:sp>
        <p:nvSpPr>
          <p:cNvPr id="17" name="object 21">
            <a:extLst>
              <a:ext uri="{FF2B5EF4-FFF2-40B4-BE49-F238E27FC236}">
                <a16:creationId xmlns:a16="http://schemas.microsoft.com/office/drawing/2014/main" id="{0D6C1F48-B09D-3B7D-44D6-4190F6FDF531}"/>
              </a:ext>
            </a:extLst>
          </p:cNvPr>
          <p:cNvSpPr txBox="1"/>
          <p:nvPr/>
        </p:nvSpPr>
        <p:spPr>
          <a:xfrm>
            <a:off x="6338642" y="2319217"/>
            <a:ext cx="1326594" cy="1117133"/>
          </a:xfrm>
          <a:prstGeom prst="rect">
            <a:avLst/>
          </a:prstGeom>
        </p:spPr>
        <p:txBody>
          <a:bodyPr vert="horz" wrap="square" lIns="0" tIns="9049" rIns="0" bIns="0" rtlCol="0">
            <a:spAutoFit/>
          </a:bodyPr>
          <a:lstStyle/>
          <a:p>
            <a:pPr marL="90488" marR="83344" indent="-2381" algn="ctr"/>
            <a:r>
              <a:rPr lang="el-GR" sz="1200" spc="-4">
                <a:latin typeface="+mj-lt"/>
                <a:cs typeface="Calibri" panose="020F0502020204030204" pitchFamily="34" charset="0"/>
              </a:rPr>
              <a:t>οι μπαταρίες μπορούν επίσης να αμείβονται για την παροχή </a:t>
            </a:r>
            <a:r>
              <a:rPr lang="el-GR" sz="1200" b="1" spc="-4">
                <a:latin typeface="+mj-lt"/>
                <a:cs typeface="Calibri" panose="020F0502020204030204" pitchFamily="34" charset="0"/>
              </a:rPr>
              <a:t>επικουρικών υπηρεσιών.</a:t>
            </a:r>
            <a:endParaRPr lang="en-GB" sz="1200" b="1" spc="-4">
              <a:latin typeface="+mj-lt"/>
              <a:cs typeface="Calibri" panose="020F0502020204030204" pitchFamily="34" charset="0"/>
            </a:endParaRPr>
          </a:p>
        </p:txBody>
      </p:sp>
      <p:sp>
        <p:nvSpPr>
          <p:cNvPr id="18" name="object 26">
            <a:extLst>
              <a:ext uri="{FF2B5EF4-FFF2-40B4-BE49-F238E27FC236}">
                <a16:creationId xmlns:a16="http://schemas.microsoft.com/office/drawing/2014/main" id="{2A63EFFA-633D-9821-3F77-7C6D3E7E449C}"/>
              </a:ext>
            </a:extLst>
          </p:cNvPr>
          <p:cNvSpPr txBox="1"/>
          <p:nvPr/>
        </p:nvSpPr>
        <p:spPr>
          <a:xfrm>
            <a:off x="9947743" y="1904018"/>
            <a:ext cx="1663326" cy="2739211"/>
          </a:xfrm>
          <a:prstGeom prst="rect">
            <a:avLst/>
          </a:prstGeom>
          <a:ln w="12700">
            <a:noFill/>
          </a:ln>
        </p:spPr>
        <p:txBody>
          <a:bodyPr vert="horz" wrap="square" lIns="0" tIns="0" rIns="0" bIns="0" rtlCol="0">
            <a:spAutoFit/>
          </a:bodyPr>
          <a:lstStyle/>
          <a:p>
            <a:pPr algn="just">
              <a:lnSpc>
                <a:spcPct val="150000"/>
              </a:lnSpc>
            </a:pPr>
            <a:r>
              <a:rPr lang="el-GR" sz="1200">
                <a:latin typeface="+mj-lt"/>
                <a:cs typeface="Times New Roman"/>
              </a:rPr>
              <a:t>Οι μπαταρίες μπορούν να συμμετέχουν σε διαφορετικό βαθμό σε κάθε μία από τις διάφορες ροές εσόδων.</a:t>
            </a:r>
            <a:endParaRPr lang="en-US" sz="1200">
              <a:latin typeface="+mj-lt"/>
              <a:cs typeface="Times New Roman"/>
            </a:endParaRPr>
          </a:p>
          <a:p>
            <a:pPr algn="just">
              <a:lnSpc>
                <a:spcPct val="150000"/>
              </a:lnSpc>
            </a:pPr>
            <a:r>
              <a:rPr lang="el-GR" sz="1200">
                <a:latin typeface="+mj-lt"/>
                <a:cs typeface="Times New Roman"/>
              </a:rPr>
              <a:t>Η συσσώρευση εσόδων μπορεί να στηρίξει την επενδυτική προοπτική μπαταριών στην Ελλάδα.</a:t>
            </a:r>
            <a:endParaRPr lang="en-US" sz="1200">
              <a:latin typeface="+mj-lt"/>
              <a:cs typeface="Times New Roman"/>
            </a:endParaRPr>
          </a:p>
        </p:txBody>
      </p:sp>
      <p:sp>
        <p:nvSpPr>
          <p:cNvPr id="19" name="object 27">
            <a:extLst>
              <a:ext uri="{FF2B5EF4-FFF2-40B4-BE49-F238E27FC236}">
                <a16:creationId xmlns:a16="http://schemas.microsoft.com/office/drawing/2014/main" id="{168F1467-2D9D-A3B4-150A-2412AC462C1C}"/>
              </a:ext>
            </a:extLst>
          </p:cNvPr>
          <p:cNvSpPr txBox="1"/>
          <p:nvPr/>
        </p:nvSpPr>
        <p:spPr>
          <a:xfrm>
            <a:off x="4514862" y="6059890"/>
            <a:ext cx="2462835" cy="403572"/>
          </a:xfrm>
          <a:prstGeom prst="rect">
            <a:avLst/>
          </a:prstGeom>
        </p:spPr>
        <p:txBody>
          <a:bodyPr vert="horz" wrap="square" lIns="0" tIns="9525" rIns="0" bIns="0" rtlCol="0">
            <a:spAutoFit/>
          </a:bodyPr>
          <a:lstStyle/>
          <a:p>
            <a:pPr marL="202406" marR="3810" indent="-193358" algn="ctr">
              <a:lnSpc>
                <a:spcPct val="110000"/>
              </a:lnSpc>
              <a:spcBef>
                <a:spcPts val="75"/>
              </a:spcBef>
            </a:pPr>
            <a:r>
              <a:rPr lang="el-GR" sz="1200" b="1" spc="-4">
                <a:latin typeface="+mj-lt"/>
                <a:cs typeface="Calibri"/>
              </a:rPr>
              <a:t>Έσοδα από Επικουρικές Υπηρεσίες (</a:t>
            </a:r>
            <a:r>
              <a:rPr lang="en-US" sz="1200" b="1" spc="-4">
                <a:latin typeface="+mj-lt"/>
                <a:cs typeface="Calibri"/>
              </a:rPr>
              <a:t>Ancillary Services)</a:t>
            </a:r>
            <a:endParaRPr sz="1200" b="1" spc="-4">
              <a:latin typeface="+mj-lt"/>
              <a:cs typeface="Calibri"/>
            </a:endParaRPr>
          </a:p>
        </p:txBody>
      </p:sp>
      <p:cxnSp>
        <p:nvCxnSpPr>
          <p:cNvPr id="20" name="Connector: Curved 19">
            <a:extLst>
              <a:ext uri="{FF2B5EF4-FFF2-40B4-BE49-F238E27FC236}">
                <a16:creationId xmlns:a16="http://schemas.microsoft.com/office/drawing/2014/main" id="{5C03E3CC-7B7A-37E5-F85C-772342243CF5}"/>
              </a:ext>
            </a:extLst>
          </p:cNvPr>
          <p:cNvCxnSpPr>
            <a:cxnSpLocks/>
          </p:cNvCxnSpPr>
          <p:nvPr/>
        </p:nvCxnSpPr>
        <p:spPr>
          <a:xfrm rot="16200000" flipV="1">
            <a:off x="1169245" y="3016886"/>
            <a:ext cx="1200273" cy="752570"/>
          </a:xfrm>
          <a:prstGeom prst="curvedConnector4">
            <a:avLst>
              <a:gd name="adj1" fmla="val 26882"/>
              <a:gd name="adj2" fmla="val 130376"/>
            </a:avLst>
          </a:prstGeom>
          <a:ln w="28575">
            <a:solidFill>
              <a:srgbClr val="0F55F5"/>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Curved 21">
            <a:extLst>
              <a:ext uri="{FF2B5EF4-FFF2-40B4-BE49-F238E27FC236}">
                <a16:creationId xmlns:a16="http://schemas.microsoft.com/office/drawing/2014/main" id="{F8528C75-1EEF-F5A5-D304-A9B38EAFAEE8}"/>
              </a:ext>
            </a:extLst>
          </p:cNvPr>
          <p:cNvCxnSpPr>
            <a:cxnSpLocks/>
          </p:cNvCxnSpPr>
          <p:nvPr/>
        </p:nvCxnSpPr>
        <p:spPr>
          <a:xfrm flipV="1">
            <a:off x="5746280" y="2330659"/>
            <a:ext cx="1105546" cy="620076"/>
          </a:xfrm>
          <a:prstGeom prst="curvedConnector4">
            <a:avLst>
              <a:gd name="adj1" fmla="val 20001"/>
              <a:gd name="adj2" fmla="val 136866"/>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Curved 22">
            <a:extLst>
              <a:ext uri="{FF2B5EF4-FFF2-40B4-BE49-F238E27FC236}">
                <a16:creationId xmlns:a16="http://schemas.microsoft.com/office/drawing/2014/main" id="{390CA360-D19C-46DC-5698-68EFAD8F05EF}"/>
              </a:ext>
            </a:extLst>
          </p:cNvPr>
          <p:cNvCxnSpPr>
            <a:cxnSpLocks/>
          </p:cNvCxnSpPr>
          <p:nvPr/>
        </p:nvCxnSpPr>
        <p:spPr>
          <a:xfrm flipV="1">
            <a:off x="9230658" y="1832201"/>
            <a:ext cx="1105546" cy="620076"/>
          </a:xfrm>
          <a:prstGeom prst="curvedConnector4">
            <a:avLst>
              <a:gd name="adj1" fmla="val 20001"/>
              <a:gd name="adj2" fmla="val 136866"/>
            </a:avLst>
          </a:prstGeom>
          <a:ln w="285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4" name="object 21">
            <a:extLst>
              <a:ext uri="{FF2B5EF4-FFF2-40B4-BE49-F238E27FC236}">
                <a16:creationId xmlns:a16="http://schemas.microsoft.com/office/drawing/2014/main" id="{E214D35D-2297-311F-D123-2BCAEF567B0A}"/>
              </a:ext>
            </a:extLst>
          </p:cNvPr>
          <p:cNvSpPr txBox="1"/>
          <p:nvPr/>
        </p:nvSpPr>
        <p:spPr>
          <a:xfrm>
            <a:off x="4413309" y="4130574"/>
            <a:ext cx="3336711" cy="1671131"/>
          </a:xfrm>
          <a:prstGeom prst="rect">
            <a:avLst/>
          </a:prstGeom>
        </p:spPr>
        <p:txBody>
          <a:bodyPr vert="horz" wrap="square" lIns="0" tIns="9049" rIns="0" bIns="0" rtlCol="0">
            <a:spAutoFit/>
          </a:bodyPr>
          <a:lstStyle/>
          <a:p>
            <a:pPr marL="90488" marR="83344" indent="-2381" algn="ctr"/>
            <a:r>
              <a:rPr lang="el-GR" sz="1200" b="1" spc="-4">
                <a:solidFill>
                  <a:schemeClr val="accent3"/>
                </a:solidFill>
                <a:latin typeface="+mj-lt"/>
                <a:cs typeface="Calibri" panose="020F0502020204030204" pitchFamily="34" charset="0"/>
              </a:rPr>
              <a:t>Αυτές οι ροές εσόδων καθοδηγούνται από τις ανισορροπίες του συστήματος</a:t>
            </a:r>
            <a:r>
              <a:rPr lang="en-GB" sz="1200" b="1" spc="-4">
                <a:solidFill>
                  <a:schemeClr val="accent3"/>
                </a:solidFill>
                <a:latin typeface="+mj-lt"/>
                <a:cs typeface="Calibri" panose="020F0502020204030204" pitchFamily="34" charset="0"/>
              </a:rPr>
              <a:t>:</a:t>
            </a:r>
          </a:p>
          <a:p>
            <a:pPr marL="259557" marR="83344" indent="-171450" algn="just">
              <a:buFont typeface="Arial" panose="020B0604020202020204" pitchFamily="34" charset="0"/>
              <a:buChar char="•"/>
            </a:pPr>
            <a:r>
              <a:rPr lang="el-GR" sz="1200" spc="-4">
                <a:latin typeface="+mj-lt"/>
                <a:cs typeface="Calibri" panose="020F0502020204030204" pitchFamily="34" charset="0"/>
              </a:rPr>
              <a:t>Εάν το σύστημα έχει χαμηλή αδράνεια (αδράνεια) ή υψηλή ανελαστικότητα,</a:t>
            </a:r>
            <a:r>
              <a:rPr lang="en-US" sz="1200" spc="-4">
                <a:latin typeface="+mj-lt"/>
                <a:cs typeface="Calibri" panose="020F0502020204030204" pitchFamily="34" charset="0"/>
              </a:rPr>
              <a:t> </a:t>
            </a:r>
            <a:r>
              <a:rPr lang="el-GR" sz="1200" spc="-4">
                <a:latin typeface="+mj-lt"/>
                <a:cs typeface="Calibri" panose="020F0502020204030204" pitchFamily="34" charset="0"/>
              </a:rPr>
              <a:t>τότε υπάρχει η απαίτηση για μηχανισμούς  εξισορρόπησης</a:t>
            </a:r>
            <a:endParaRPr lang="en-US" sz="1200" spc="-4">
              <a:latin typeface="+mj-lt"/>
              <a:cs typeface="Calibri" panose="020F0502020204030204" pitchFamily="34" charset="0"/>
            </a:endParaRPr>
          </a:p>
          <a:p>
            <a:pPr marL="259557" marR="83344" indent="-171450" algn="just">
              <a:buFont typeface="Arial" panose="020B0604020202020204" pitchFamily="34" charset="0"/>
              <a:buChar char="•"/>
            </a:pPr>
            <a:r>
              <a:rPr lang="el-GR" sz="1200" spc="-4">
                <a:latin typeface="+mj-lt"/>
                <a:cs typeface="Calibri" panose="020F0502020204030204" pitchFamily="34" charset="0"/>
              </a:rPr>
              <a:t>Όσο πιο ανελαστικό είναι το σύστημα, τόσο μεγαλύτερες είναι οι απαιτήσεις εξισορρόπησης.</a:t>
            </a:r>
            <a:endParaRPr sz="1200" spc="-4">
              <a:latin typeface="+mj-lt"/>
              <a:cs typeface="Calibri" panose="020F0502020204030204" pitchFamily="34" charset="0"/>
            </a:endParaRPr>
          </a:p>
        </p:txBody>
      </p:sp>
      <p:pic>
        <p:nvPicPr>
          <p:cNvPr id="25" name="Picture 24">
            <a:extLst>
              <a:ext uri="{FF2B5EF4-FFF2-40B4-BE49-F238E27FC236}">
                <a16:creationId xmlns:a16="http://schemas.microsoft.com/office/drawing/2014/main" id="{08490F44-89CD-FB01-7664-3DD1966B8DE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039701" y="4053454"/>
            <a:ext cx="513895" cy="513895"/>
          </a:xfrm>
          <a:prstGeom prst="rect">
            <a:avLst/>
          </a:prstGeom>
        </p:spPr>
      </p:pic>
      <p:sp>
        <p:nvSpPr>
          <p:cNvPr id="26" name="Rectangle: Rounded Corners 25">
            <a:extLst>
              <a:ext uri="{FF2B5EF4-FFF2-40B4-BE49-F238E27FC236}">
                <a16:creationId xmlns:a16="http://schemas.microsoft.com/office/drawing/2014/main" id="{D71E220F-C44D-BD70-793A-86F2A65B36DE}"/>
              </a:ext>
            </a:extLst>
          </p:cNvPr>
          <p:cNvSpPr/>
          <p:nvPr/>
        </p:nvSpPr>
        <p:spPr>
          <a:xfrm>
            <a:off x="4043455" y="4048735"/>
            <a:ext cx="3881762" cy="1848582"/>
          </a:xfrm>
          <a:prstGeom prst="roundRect">
            <a:avLst/>
          </a:prstGeom>
          <a:noFill/>
          <a:ln w="38100">
            <a:solidFill>
              <a:schemeClr val="bg1">
                <a:lumMod val="5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200">
              <a:latin typeface="+mj-lt"/>
            </a:endParaRPr>
          </a:p>
        </p:txBody>
      </p:sp>
      <p:cxnSp>
        <p:nvCxnSpPr>
          <p:cNvPr id="27" name="Connector: Curved 26">
            <a:extLst>
              <a:ext uri="{FF2B5EF4-FFF2-40B4-BE49-F238E27FC236}">
                <a16:creationId xmlns:a16="http://schemas.microsoft.com/office/drawing/2014/main" id="{B50D169B-8D1A-1780-5273-03FA02DFE6E8}"/>
              </a:ext>
            </a:extLst>
          </p:cNvPr>
          <p:cNvCxnSpPr>
            <a:cxnSpLocks/>
            <a:stCxn id="17" idx="2"/>
            <a:endCxn id="26" idx="0"/>
          </p:cNvCxnSpPr>
          <p:nvPr/>
        </p:nvCxnSpPr>
        <p:spPr>
          <a:xfrm rot="5400000">
            <a:off x="6186946" y="3233741"/>
            <a:ext cx="612385" cy="1017603"/>
          </a:xfrm>
          <a:prstGeom prst="curvedConnector3">
            <a:avLst>
              <a:gd name="adj1" fmla="val 50000"/>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F80EBC9-0F08-0819-FF2A-5722F7F4F497}"/>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n-US" sz="1200" b="0">
                <a:solidFill>
                  <a:schemeClr val="tx1"/>
                </a:solidFill>
              </a:rPr>
              <a:t>HAEE</a:t>
            </a:r>
            <a:endParaRPr lang="en-US" sz="1200"/>
          </a:p>
        </p:txBody>
      </p:sp>
    </p:spTree>
    <p:extLst>
      <p:ext uri="{BB962C8B-B14F-4D97-AF65-F5344CB8AC3E}">
        <p14:creationId xmlns:p14="http://schemas.microsoft.com/office/powerpoint/2010/main" val="1139865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7376-2991-1D5A-4665-C453E90EFDDC}"/>
            </a:ext>
          </a:extLst>
        </p:cNvPr>
        <p:cNvGrpSpPr/>
        <p:nvPr/>
      </p:nvGrpSpPr>
      <p:grpSpPr>
        <a:xfrm>
          <a:off x="0" y="0"/>
          <a:ext cx="0" cy="0"/>
          <a:chOff x="0" y="0"/>
          <a:chExt cx="0" cy="0"/>
        </a:xfrm>
      </p:grpSpPr>
      <p:sp>
        <p:nvSpPr>
          <p:cNvPr id="21" name="Arrow: Bent 20">
            <a:extLst>
              <a:ext uri="{FF2B5EF4-FFF2-40B4-BE49-F238E27FC236}">
                <a16:creationId xmlns:a16="http://schemas.microsoft.com/office/drawing/2014/main" id="{D82B4912-019C-3560-A7FC-58CFC666B91B}"/>
              </a:ext>
            </a:extLst>
          </p:cNvPr>
          <p:cNvSpPr/>
          <p:nvPr/>
        </p:nvSpPr>
        <p:spPr>
          <a:xfrm rot="16200000" flipH="1">
            <a:off x="2341566" y="2268363"/>
            <a:ext cx="1500767" cy="5297156"/>
          </a:xfrm>
          <a:prstGeom prst="bentArrow">
            <a:avLst>
              <a:gd name="adj1" fmla="val 25000"/>
              <a:gd name="adj2" fmla="val 10725"/>
              <a:gd name="adj3" fmla="val 24132"/>
              <a:gd name="adj4" fmla="val 273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j-lt"/>
            </a:endParaRPr>
          </a:p>
        </p:txBody>
      </p:sp>
      <p:sp>
        <p:nvSpPr>
          <p:cNvPr id="6" name="Title 5">
            <a:extLst>
              <a:ext uri="{FF2B5EF4-FFF2-40B4-BE49-F238E27FC236}">
                <a16:creationId xmlns:a16="http://schemas.microsoft.com/office/drawing/2014/main" id="{8D5B5B2A-E3B3-85C1-A8DE-F35A15F7620C}"/>
              </a:ext>
            </a:extLst>
          </p:cNvPr>
          <p:cNvSpPr>
            <a:spLocks noGrp="1"/>
          </p:cNvSpPr>
          <p:nvPr>
            <p:ph type="title"/>
          </p:nvPr>
        </p:nvSpPr>
        <p:spPr>
          <a:xfrm>
            <a:off x="443372" y="379660"/>
            <a:ext cx="11305716" cy="492443"/>
          </a:xfrm>
        </p:spPr>
        <p:txBody>
          <a:bodyPr/>
          <a:lstStyle/>
          <a:p>
            <a:r>
              <a:rPr lang="el-GR">
                <a:solidFill>
                  <a:srgbClr val="0F55F5"/>
                </a:solidFill>
              </a:rPr>
              <a:t>Αποτελέσματα Διαγωνισμών στην Ελλάδα</a:t>
            </a:r>
            <a:endParaRPr lang="en-US">
              <a:solidFill>
                <a:srgbClr val="0F55F5"/>
              </a:solidFill>
            </a:endParaRPr>
          </a:p>
        </p:txBody>
      </p:sp>
      <p:sp>
        <p:nvSpPr>
          <p:cNvPr id="9" name="Arrow: Bent 8">
            <a:extLst>
              <a:ext uri="{FF2B5EF4-FFF2-40B4-BE49-F238E27FC236}">
                <a16:creationId xmlns:a16="http://schemas.microsoft.com/office/drawing/2014/main" id="{82EF12EE-E045-376C-CB6B-7761AACA94F5}"/>
              </a:ext>
            </a:extLst>
          </p:cNvPr>
          <p:cNvSpPr/>
          <p:nvPr/>
        </p:nvSpPr>
        <p:spPr>
          <a:xfrm rot="10800000">
            <a:off x="1498361" y="3171713"/>
            <a:ext cx="5281131" cy="1312647"/>
          </a:xfrm>
          <a:prstGeom prst="bentArrow">
            <a:avLst>
              <a:gd name="adj1" fmla="val 25000"/>
              <a:gd name="adj2" fmla="val 12484"/>
              <a:gd name="adj3" fmla="val 24132"/>
              <a:gd name="adj4" fmla="val 273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j-lt"/>
            </a:endParaRPr>
          </a:p>
        </p:txBody>
      </p:sp>
      <p:sp>
        <p:nvSpPr>
          <p:cNvPr id="10" name="Arrow: Bent 9">
            <a:extLst>
              <a:ext uri="{FF2B5EF4-FFF2-40B4-BE49-F238E27FC236}">
                <a16:creationId xmlns:a16="http://schemas.microsoft.com/office/drawing/2014/main" id="{7C9AF91E-93E3-3C09-FAA3-F01A1C047D6D}"/>
              </a:ext>
            </a:extLst>
          </p:cNvPr>
          <p:cNvSpPr/>
          <p:nvPr/>
        </p:nvSpPr>
        <p:spPr>
          <a:xfrm rot="5400000">
            <a:off x="3553641" y="809043"/>
            <a:ext cx="1355145" cy="5099170"/>
          </a:xfrm>
          <a:prstGeom prst="bentArrow">
            <a:avLst>
              <a:gd name="adj1" fmla="val 25000"/>
              <a:gd name="adj2" fmla="val 11901"/>
              <a:gd name="adj3" fmla="val 24132"/>
              <a:gd name="adj4" fmla="val 273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j-lt"/>
            </a:endParaRPr>
          </a:p>
        </p:txBody>
      </p:sp>
      <p:sp>
        <p:nvSpPr>
          <p:cNvPr id="11" name="Arrow: Bent 10">
            <a:extLst>
              <a:ext uri="{FF2B5EF4-FFF2-40B4-BE49-F238E27FC236}">
                <a16:creationId xmlns:a16="http://schemas.microsoft.com/office/drawing/2014/main" id="{EFFA00E8-EDC9-39E0-EC4A-97FE70F41AAA}"/>
              </a:ext>
            </a:extLst>
          </p:cNvPr>
          <p:cNvSpPr/>
          <p:nvPr/>
        </p:nvSpPr>
        <p:spPr>
          <a:xfrm rot="10800000" flipH="1">
            <a:off x="403878" y="1535688"/>
            <a:ext cx="5296210" cy="1462585"/>
          </a:xfrm>
          <a:prstGeom prst="bentArrow">
            <a:avLst>
              <a:gd name="adj1" fmla="val 25000"/>
              <a:gd name="adj2" fmla="val 10725"/>
              <a:gd name="adj3" fmla="val 24132"/>
              <a:gd name="adj4" fmla="val 273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j-lt"/>
            </a:endParaRPr>
          </a:p>
        </p:txBody>
      </p:sp>
      <p:sp>
        <p:nvSpPr>
          <p:cNvPr id="12" name="Arrow: Bent 11">
            <a:extLst>
              <a:ext uri="{FF2B5EF4-FFF2-40B4-BE49-F238E27FC236}">
                <a16:creationId xmlns:a16="http://schemas.microsoft.com/office/drawing/2014/main" id="{94DF9556-7E90-CA31-CDDD-FE344C26AB9C}"/>
              </a:ext>
            </a:extLst>
          </p:cNvPr>
          <p:cNvSpPr/>
          <p:nvPr/>
        </p:nvSpPr>
        <p:spPr>
          <a:xfrm rot="16200000" flipH="1">
            <a:off x="2320452" y="-783300"/>
            <a:ext cx="1462583" cy="5297156"/>
          </a:xfrm>
          <a:prstGeom prst="bentArrow">
            <a:avLst>
              <a:gd name="adj1" fmla="val 25000"/>
              <a:gd name="adj2" fmla="val 10725"/>
              <a:gd name="adj3" fmla="val 24132"/>
              <a:gd name="adj4" fmla="val 2731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latin typeface="+mj-lt"/>
            </a:endParaRPr>
          </a:p>
        </p:txBody>
      </p:sp>
      <p:sp>
        <p:nvSpPr>
          <p:cNvPr id="13" name="TextBox 12">
            <a:extLst>
              <a:ext uri="{FF2B5EF4-FFF2-40B4-BE49-F238E27FC236}">
                <a16:creationId xmlns:a16="http://schemas.microsoft.com/office/drawing/2014/main" id="{35E29757-3010-6CDC-C9E6-0F456CB999CE}"/>
              </a:ext>
            </a:extLst>
          </p:cNvPr>
          <p:cNvSpPr txBox="1"/>
          <p:nvPr/>
        </p:nvSpPr>
        <p:spPr>
          <a:xfrm>
            <a:off x="706895" y="2651379"/>
            <a:ext cx="5099171" cy="276999"/>
          </a:xfrm>
          <a:prstGeom prst="rect">
            <a:avLst/>
          </a:prstGeom>
          <a:noFill/>
        </p:spPr>
        <p:txBody>
          <a:bodyPr wrap="square">
            <a:spAutoFit/>
          </a:bodyPr>
          <a:lstStyle/>
          <a:p>
            <a:r>
              <a:rPr lang="el-GR" sz="1200">
                <a:solidFill>
                  <a:schemeClr val="bg1"/>
                </a:solidFill>
                <a:latin typeface="+mj-lt"/>
              </a:rPr>
              <a:t>2</a:t>
            </a:r>
            <a:r>
              <a:rPr lang="el-GR" sz="1200" baseline="30000">
                <a:solidFill>
                  <a:schemeClr val="bg1"/>
                </a:solidFill>
                <a:latin typeface="+mj-lt"/>
              </a:rPr>
              <a:t>η</a:t>
            </a:r>
            <a:r>
              <a:rPr lang="el-GR" sz="1200">
                <a:solidFill>
                  <a:schemeClr val="bg1"/>
                </a:solidFill>
                <a:latin typeface="+mj-lt"/>
              </a:rPr>
              <a:t> Ανταγωνιστική Διαδικασία, Φεβρουάριος 2024</a:t>
            </a:r>
            <a:endParaRPr lang="en-US" sz="1200">
              <a:solidFill>
                <a:schemeClr val="bg1"/>
              </a:solidFill>
              <a:latin typeface="+mj-lt"/>
            </a:endParaRPr>
          </a:p>
        </p:txBody>
      </p:sp>
      <p:sp>
        <p:nvSpPr>
          <p:cNvPr id="14" name="TextBox 13">
            <a:extLst>
              <a:ext uri="{FF2B5EF4-FFF2-40B4-BE49-F238E27FC236}">
                <a16:creationId xmlns:a16="http://schemas.microsoft.com/office/drawing/2014/main" id="{AC9CCDAF-26ED-6B29-C1FD-41C8FC167CB6}"/>
              </a:ext>
            </a:extLst>
          </p:cNvPr>
          <p:cNvSpPr txBox="1"/>
          <p:nvPr/>
        </p:nvSpPr>
        <p:spPr>
          <a:xfrm>
            <a:off x="706895" y="3092032"/>
            <a:ext cx="5623246" cy="1046440"/>
          </a:xfrm>
          <a:prstGeom prst="rect">
            <a:avLst/>
          </a:prstGeom>
          <a:solidFill>
            <a:schemeClr val="accent3">
              <a:lumMod val="20000"/>
              <a:lumOff val="80000"/>
            </a:schemeClr>
          </a:solidFill>
          <a:ln w="28575">
            <a:solidFill>
              <a:schemeClr val="bg1"/>
            </a:solidFill>
          </a:ln>
        </p:spPr>
        <p:txBody>
          <a:bodyPr wrap="square" lIns="121920" tIns="60960" rIns="121920" bIns="60960" rtlCol="0" anchor="t">
            <a:spAutoFit/>
          </a:bodyPr>
          <a:lstStyle>
            <a:defPPr marR="0" lvl="0" algn="l" rtl="0">
              <a:lnSpc>
                <a:spcPct val="100000"/>
              </a:lnSpc>
              <a:spcBef>
                <a:spcPts val="0"/>
              </a:spcBef>
              <a:spcAft>
                <a:spcPts val="0"/>
              </a:spcAft>
            </a:defPPr>
            <a:lvl1pPr>
              <a:defRPr sz="1265" b="1" i="1">
                <a:solidFill>
                  <a:srgbClr val="474747"/>
                </a:solidFill>
                <a:latin typeface="BBG CJK"/>
              </a:defRPr>
            </a:lvl1pPr>
          </a:lstStyle>
          <a:p>
            <a:pPr marL="380990" indent="-380990">
              <a:buFont typeface="Wingdings" panose="05000000000000000000" pitchFamily="2" charset="2"/>
              <a:buChar char="Ø"/>
            </a:pPr>
            <a:r>
              <a:rPr lang="el-GR" sz="1200" b="0" i="0">
                <a:latin typeface="+mj-lt"/>
              </a:rPr>
              <a:t>Υποβλήθηκαν 48 προτάσεις συνολικής ισχύος 1556 MW</a:t>
            </a:r>
          </a:p>
          <a:p>
            <a:pPr marL="380990" indent="-380990">
              <a:buFont typeface="Wingdings" panose="05000000000000000000" pitchFamily="2" charset="2"/>
              <a:buChar char="Ø"/>
            </a:pPr>
            <a:r>
              <a:rPr lang="el-GR" sz="1200" b="0" i="0">
                <a:latin typeface="+mj-lt"/>
              </a:rPr>
              <a:t>11 επιλεγμένα έργα αποθήκευσης ενέργειας</a:t>
            </a:r>
          </a:p>
          <a:p>
            <a:pPr marL="380990" indent="-380990">
              <a:buFont typeface="Wingdings" panose="05000000000000000000" pitchFamily="2" charset="2"/>
              <a:buChar char="Ø"/>
            </a:pPr>
            <a:r>
              <a:rPr lang="el-GR" sz="1200" b="0" i="0">
                <a:latin typeface="+mj-lt"/>
              </a:rPr>
              <a:t>Συνολική κατακύρωση 288,21 ΜW</a:t>
            </a:r>
          </a:p>
          <a:p>
            <a:pPr marL="380990" indent="-380990">
              <a:buFont typeface="Wingdings" panose="05000000000000000000" pitchFamily="2" charset="2"/>
              <a:buChar char="Ø"/>
            </a:pPr>
            <a:r>
              <a:rPr lang="el-GR" sz="1200" b="0" i="0">
                <a:latin typeface="+mj-lt"/>
              </a:rPr>
              <a:t>Η χαμηλότερη επιτυχής προσφορά ήταν 44.000 €/MW ανά έτος</a:t>
            </a:r>
          </a:p>
          <a:p>
            <a:pPr marL="380990" indent="-380990">
              <a:buFont typeface="Wingdings" panose="05000000000000000000" pitchFamily="2" charset="2"/>
              <a:buChar char="Ø"/>
            </a:pPr>
            <a:r>
              <a:rPr lang="el-GR" sz="1200" b="0" i="0">
                <a:latin typeface="+mj-lt"/>
              </a:rPr>
              <a:t>Η υψηλότερη επιτυχής προσφορά ήταν 49.917 €/MW ανά έτος</a:t>
            </a:r>
            <a:endParaRPr lang="en-US" sz="1200" b="0" i="0">
              <a:solidFill>
                <a:srgbClr val="474747"/>
              </a:solidFill>
              <a:latin typeface="+mj-lt"/>
            </a:endParaRPr>
          </a:p>
        </p:txBody>
      </p:sp>
      <p:sp>
        <p:nvSpPr>
          <p:cNvPr id="15" name="TextBox 14">
            <a:extLst>
              <a:ext uri="{FF2B5EF4-FFF2-40B4-BE49-F238E27FC236}">
                <a16:creationId xmlns:a16="http://schemas.microsoft.com/office/drawing/2014/main" id="{7030B964-DDBF-C6BF-875C-C792EF024685}"/>
              </a:ext>
            </a:extLst>
          </p:cNvPr>
          <p:cNvSpPr txBox="1"/>
          <p:nvPr/>
        </p:nvSpPr>
        <p:spPr>
          <a:xfrm>
            <a:off x="1159624" y="1597301"/>
            <a:ext cx="5226312" cy="1015663"/>
          </a:xfrm>
          <a:prstGeom prst="rect">
            <a:avLst/>
          </a:prstGeom>
          <a:solidFill>
            <a:schemeClr val="accent3">
              <a:lumMod val="20000"/>
              <a:lumOff val="80000"/>
            </a:schemeClr>
          </a:solidFill>
          <a:ln w="28575">
            <a:solidFill>
              <a:schemeClr val="bg1"/>
            </a:solidFill>
          </a:ln>
        </p:spPr>
        <p:txBody>
          <a:bodyPr wrap="square" rtlCol="0">
            <a:spAutoFit/>
          </a:bodyPr>
          <a:lstStyle>
            <a:defPPr marR="0" lvl="0" algn="l" rtl="0">
              <a:lnSpc>
                <a:spcPct val="100000"/>
              </a:lnSpc>
              <a:spcBef>
                <a:spcPts val="0"/>
              </a:spcBef>
              <a:spcAft>
                <a:spcPts val="0"/>
              </a:spcAft>
            </a:defPPr>
            <a:lvl1pPr>
              <a:defRPr sz="1265" b="1" i="1">
                <a:solidFill>
                  <a:srgbClr val="474747"/>
                </a:solidFill>
                <a:latin typeface="BBG CJK"/>
              </a:defRPr>
            </a:lvl1pPr>
          </a:lstStyle>
          <a:p>
            <a:pPr marL="380990" indent="-380990" algn="just">
              <a:buFont typeface="Wingdings" panose="05000000000000000000" pitchFamily="2" charset="2"/>
              <a:buChar char="Ø"/>
            </a:pPr>
            <a:r>
              <a:rPr lang="en-US" sz="1200" b="0" i="0">
                <a:latin typeface="+mj-lt"/>
              </a:rPr>
              <a:t>12 </a:t>
            </a:r>
            <a:r>
              <a:rPr lang="el-GR" sz="1200" b="0" i="0">
                <a:latin typeface="+mj-lt"/>
              </a:rPr>
              <a:t>έργα αποθήκευσης ενέργειας </a:t>
            </a:r>
            <a:endParaRPr lang="en-US" sz="1200" b="0" i="0">
              <a:latin typeface="+mj-lt"/>
            </a:endParaRPr>
          </a:p>
          <a:p>
            <a:pPr marL="380990" indent="-380990" algn="just">
              <a:buFont typeface="Wingdings" panose="05000000000000000000" pitchFamily="2" charset="2"/>
              <a:buChar char="Ø"/>
            </a:pPr>
            <a:r>
              <a:rPr lang="el-GR" sz="1200" b="0" i="0">
                <a:latin typeface="+mj-lt"/>
              </a:rPr>
              <a:t>Συνολική ανάθεση</a:t>
            </a:r>
            <a:r>
              <a:rPr lang="en-US" sz="1200" b="0" i="0">
                <a:latin typeface="+mj-lt"/>
              </a:rPr>
              <a:t> 411,79 ΜW</a:t>
            </a:r>
          </a:p>
          <a:p>
            <a:pPr marL="380990" indent="-380990" algn="just">
              <a:buFont typeface="Wingdings" panose="05000000000000000000" pitchFamily="2" charset="2"/>
              <a:buChar char="Ø"/>
            </a:pPr>
            <a:r>
              <a:rPr lang="el-GR" sz="1200" b="0" i="0">
                <a:latin typeface="+mj-lt"/>
              </a:rPr>
              <a:t>Μέση τιμή </a:t>
            </a:r>
            <a:r>
              <a:rPr lang="en-US" sz="1200" b="0" i="0">
                <a:latin typeface="+mj-lt"/>
              </a:rPr>
              <a:t>€49.748/MW </a:t>
            </a:r>
            <a:r>
              <a:rPr lang="el-GR" sz="1200" b="0" i="0">
                <a:latin typeface="+mj-lt"/>
              </a:rPr>
              <a:t>ανά έτος</a:t>
            </a:r>
            <a:endParaRPr lang="en-US" sz="1200" b="0" i="0">
              <a:latin typeface="+mj-lt"/>
            </a:endParaRPr>
          </a:p>
          <a:p>
            <a:pPr marL="380990" lvl="2" indent="-380990" algn="just">
              <a:buFont typeface="Wingdings" panose="05000000000000000000" pitchFamily="2" charset="2"/>
              <a:buChar char="Ø"/>
            </a:pPr>
            <a:r>
              <a:rPr lang="el-GR" sz="1200">
                <a:solidFill>
                  <a:srgbClr val="474747"/>
                </a:solidFill>
                <a:latin typeface="+mj-lt"/>
              </a:rPr>
              <a:t> χαμηλότερη επιτυχής προσφορά ήταν </a:t>
            </a:r>
            <a:r>
              <a:rPr lang="en-US" sz="1200">
                <a:solidFill>
                  <a:srgbClr val="474747"/>
                </a:solidFill>
                <a:latin typeface="+mj-lt"/>
              </a:rPr>
              <a:t>€33.948/MW </a:t>
            </a:r>
            <a:r>
              <a:rPr lang="el-GR" sz="1200">
                <a:solidFill>
                  <a:srgbClr val="474747"/>
                </a:solidFill>
                <a:latin typeface="+mj-lt"/>
              </a:rPr>
              <a:t>ανά έτος</a:t>
            </a:r>
            <a:endParaRPr lang="en-US" sz="1200">
              <a:solidFill>
                <a:srgbClr val="474747"/>
              </a:solidFill>
              <a:latin typeface="+mj-lt"/>
            </a:endParaRPr>
          </a:p>
          <a:p>
            <a:pPr marL="380990" lvl="2" indent="-380990" algn="just">
              <a:buFont typeface="Wingdings" panose="05000000000000000000" pitchFamily="2" charset="2"/>
              <a:buChar char="Ø"/>
            </a:pPr>
            <a:r>
              <a:rPr lang="el-GR" sz="1200">
                <a:solidFill>
                  <a:srgbClr val="474747"/>
                </a:solidFill>
                <a:latin typeface="+mj-lt"/>
              </a:rPr>
              <a:t>Η υψηλότερη επιτυχής προσφορά ήταν </a:t>
            </a:r>
            <a:r>
              <a:rPr lang="en-US" sz="1200">
                <a:solidFill>
                  <a:srgbClr val="474747"/>
                </a:solidFill>
                <a:latin typeface="+mj-lt"/>
              </a:rPr>
              <a:t>€64.122/MW </a:t>
            </a:r>
            <a:r>
              <a:rPr lang="el-GR" sz="1200">
                <a:solidFill>
                  <a:srgbClr val="474747"/>
                </a:solidFill>
                <a:latin typeface="+mj-lt"/>
              </a:rPr>
              <a:t>ανά έτος</a:t>
            </a:r>
            <a:endParaRPr lang="en-US" sz="1200">
              <a:solidFill>
                <a:srgbClr val="474747"/>
              </a:solidFill>
              <a:latin typeface="+mj-lt"/>
            </a:endParaRPr>
          </a:p>
        </p:txBody>
      </p:sp>
      <p:sp>
        <p:nvSpPr>
          <p:cNvPr id="16" name="TextBox 15">
            <a:extLst>
              <a:ext uri="{FF2B5EF4-FFF2-40B4-BE49-F238E27FC236}">
                <a16:creationId xmlns:a16="http://schemas.microsoft.com/office/drawing/2014/main" id="{A651D7C3-244F-9C49-8520-5639B374C9BE}"/>
              </a:ext>
            </a:extLst>
          </p:cNvPr>
          <p:cNvSpPr txBox="1"/>
          <p:nvPr/>
        </p:nvSpPr>
        <p:spPr>
          <a:xfrm rot="16200000">
            <a:off x="-1461726" y="3185511"/>
            <a:ext cx="3300152" cy="338554"/>
          </a:xfrm>
          <a:prstGeom prst="rect">
            <a:avLst/>
          </a:prstGeom>
          <a:solidFill>
            <a:schemeClr val="accent3">
              <a:lumMod val="20000"/>
              <a:lumOff val="80000"/>
            </a:schemeClr>
          </a:solidFill>
          <a:ln w="28575">
            <a:solidFill>
              <a:schemeClr val="bg1"/>
            </a:solidFill>
          </a:ln>
        </p:spPr>
        <p:txBody>
          <a:bodyPr wrap="square" rtlCol="0">
            <a:spAutoFit/>
          </a:bodyPr>
          <a:lstStyle>
            <a:defPPr marR="0" lvl="0" algn="l" rtl="0">
              <a:lnSpc>
                <a:spcPct val="100000"/>
              </a:lnSpc>
              <a:spcBef>
                <a:spcPts val="0"/>
              </a:spcBef>
              <a:spcAft>
                <a:spcPts val="0"/>
              </a:spcAft>
            </a:defPPr>
            <a:lvl1pPr>
              <a:defRPr sz="1265" b="1" i="1">
                <a:solidFill>
                  <a:srgbClr val="474747"/>
                </a:solidFill>
                <a:latin typeface="BBG CJK"/>
              </a:defRPr>
            </a:lvl1pPr>
          </a:lstStyle>
          <a:p>
            <a:pPr algn="just"/>
            <a:r>
              <a:rPr lang="el-GR" sz="800" i="0">
                <a:latin typeface="+mj-lt"/>
              </a:rPr>
              <a:t>Οι τρεις γύροι ανταγωνιστικής διαδικασίας το 2023 και 2024 αφορούσαν αποκλειστικά συστήματα αποθήκευσης ενέργειας</a:t>
            </a:r>
            <a:endParaRPr lang="en-US" sz="800" i="0">
              <a:latin typeface="+mj-lt"/>
            </a:endParaRPr>
          </a:p>
        </p:txBody>
      </p:sp>
      <p:sp>
        <p:nvSpPr>
          <p:cNvPr id="17" name="TextBox 16">
            <a:extLst>
              <a:ext uri="{FF2B5EF4-FFF2-40B4-BE49-F238E27FC236}">
                <a16:creationId xmlns:a16="http://schemas.microsoft.com/office/drawing/2014/main" id="{9B57C139-56B6-684A-74FD-AEC9D0C8F581}"/>
              </a:ext>
            </a:extLst>
          </p:cNvPr>
          <p:cNvSpPr txBox="1"/>
          <p:nvPr/>
        </p:nvSpPr>
        <p:spPr>
          <a:xfrm>
            <a:off x="1851025" y="4585813"/>
            <a:ext cx="3994573" cy="1046440"/>
          </a:xfrm>
          <a:prstGeom prst="rect">
            <a:avLst/>
          </a:prstGeom>
          <a:solidFill>
            <a:schemeClr val="accent3">
              <a:lumMod val="20000"/>
              <a:lumOff val="80000"/>
            </a:schemeClr>
          </a:solidFill>
          <a:ln w="28575">
            <a:solidFill>
              <a:schemeClr val="bg1"/>
            </a:solidFill>
          </a:ln>
        </p:spPr>
        <p:txBody>
          <a:bodyPr wrap="square" lIns="121920" tIns="60960" rIns="121920" bIns="60960" rtlCol="0" anchor="t">
            <a:spAutoFit/>
          </a:bodyPr>
          <a:lstStyle>
            <a:defPPr marR="0" lvl="0" algn="l" rtl="0">
              <a:lnSpc>
                <a:spcPct val="100000"/>
              </a:lnSpc>
              <a:spcBef>
                <a:spcPts val="0"/>
              </a:spcBef>
              <a:spcAft>
                <a:spcPts val="0"/>
              </a:spcAft>
            </a:defPPr>
            <a:lvl1pPr>
              <a:defRPr sz="1265" b="1" i="1">
                <a:solidFill>
                  <a:srgbClr val="474747"/>
                </a:solidFill>
                <a:latin typeface="BBG CJK"/>
              </a:defRPr>
            </a:lvl1pPr>
          </a:lstStyle>
          <a:p>
            <a:pPr marL="380990" indent="-380990">
              <a:buFont typeface="Wingdings" panose="05000000000000000000" pitchFamily="2" charset="2"/>
              <a:buChar char="Ø"/>
            </a:pPr>
            <a:r>
              <a:rPr lang="el-GR" sz="1200" b="0" i="0">
                <a:latin typeface="+mj-lt"/>
              </a:rPr>
              <a:t>200 MW σε δημοπρασία</a:t>
            </a:r>
          </a:p>
          <a:p>
            <a:pPr marL="380990" indent="-380990">
              <a:buFont typeface="Wingdings" panose="05000000000000000000" pitchFamily="2" charset="2"/>
              <a:buChar char="Ø"/>
            </a:pPr>
            <a:r>
              <a:rPr lang="el-GR" sz="1200" b="0" i="0">
                <a:latin typeface="+mj-lt"/>
              </a:rPr>
              <a:t>50 MW ανώτατο όριο ανά συμμετέχοντα</a:t>
            </a:r>
          </a:p>
          <a:p>
            <a:pPr marL="380990" indent="-380990">
              <a:buFont typeface="Wingdings" panose="05000000000000000000" pitchFamily="2" charset="2"/>
              <a:buChar char="Ø"/>
            </a:pPr>
            <a:r>
              <a:rPr lang="el-GR" sz="1200" b="0" i="0">
                <a:latin typeface="+mj-lt"/>
              </a:rPr>
              <a:t>Επιδότηση CAPEX 200.000 €/MW</a:t>
            </a:r>
          </a:p>
          <a:p>
            <a:pPr marL="380990" indent="-380990">
              <a:buFont typeface="Wingdings" panose="05000000000000000000" pitchFamily="2" charset="2"/>
              <a:buChar char="Ø"/>
            </a:pPr>
            <a:r>
              <a:rPr lang="el-GR" sz="1200" b="0" i="0">
                <a:latin typeface="+mj-lt"/>
              </a:rPr>
              <a:t>Μέγιστη τιμή προσφοράς 145.000 €/MW/έτος</a:t>
            </a:r>
          </a:p>
          <a:p>
            <a:pPr marL="380990" indent="-380990">
              <a:buFont typeface="Wingdings" panose="05000000000000000000" pitchFamily="2" charset="2"/>
              <a:buChar char="Ø"/>
            </a:pPr>
            <a:r>
              <a:rPr lang="el-GR" sz="1200" b="0" i="0">
                <a:latin typeface="+mj-lt"/>
              </a:rPr>
              <a:t>4-ώρες (MWh/MW)</a:t>
            </a:r>
            <a:endParaRPr lang="en-US" sz="1200" b="0" i="0">
              <a:latin typeface="+mj-lt"/>
            </a:endParaRPr>
          </a:p>
        </p:txBody>
      </p:sp>
      <p:sp>
        <p:nvSpPr>
          <p:cNvPr id="18" name="TextBox 17">
            <a:extLst>
              <a:ext uri="{FF2B5EF4-FFF2-40B4-BE49-F238E27FC236}">
                <a16:creationId xmlns:a16="http://schemas.microsoft.com/office/drawing/2014/main" id="{4F173539-F1CF-55E8-6449-8936ECEC4968}"/>
              </a:ext>
            </a:extLst>
          </p:cNvPr>
          <p:cNvSpPr txBox="1"/>
          <p:nvPr/>
        </p:nvSpPr>
        <p:spPr>
          <a:xfrm>
            <a:off x="2010672" y="4152235"/>
            <a:ext cx="4768819" cy="276999"/>
          </a:xfrm>
          <a:prstGeom prst="rect">
            <a:avLst/>
          </a:prstGeom>
          <a:noFill/>
        </p:spPr>
        <p:txBody>
          <a:bodyPr wrap="square">
            <a:spAutoFit/>
          </a:bodyPr>
          <a:lstStyle/>
          <a:p>
            <a:r>
              <a:rPr lang="el-GR" sz="1200">
                <a:solidFill>
                  <a:schemeClr val="bg1"/>
                </a:solidFill>
                <a:latin typeface="+mj-lt"/>
              </a:rPr>
              <a:t>3</a:t>
            </a:r>
            <a:r>
              <a:rPr lang="el-GR" sz="1200" baseline="30000">
                <a:solidFill>
                  <a:schemeClr val="bg1"/>
                </a:solidFill>
                <a:latin typeface="+mj-lt"/>
              </a:rPr>
              <a:t>η</a:t>
            </a:r>
            <a:r>
              <a:rPr lang="el-GR" sz="1200">
                <a:solidFill>
                  <a:schemeClr val="bg1"/>
                </a:solidFill>
                <a:latin typeface="+mj-lt"/>
              </a:rPr>
              <a:t> Ανταγωνιστική Διαδικασία, Ιανουάριος 2025</a:t>
            </a:r>
            <a:endParaRPr lang="en-US" sz="1200">
              <a:solidFill>
                <a:schemeClr val="bg1"/>
              </a:solidFill>
              <a:latin typeface="+mj-lt"/>
            </a:endParaRPr>
          </a:p>
        </p:txBody>
      </p:sp>
      <p:sp>
        <p:nvSpPr>
          <p:cNvPr id="19" name="TextBox 18">
            <a:extLst>
              <a:ext uri="{FF2B5EF4-FFF2-40B4-BE49-F238E27FC236}">
                <a16:creationId xmlns:a16="http://schemas.microsoft.com/office/drawing/2014/main" id="{BC0889D1-B4D0-4F19-5F8A-28E44EC35944}"/>
              </a:ext>
            </a:extLst>
          </p:cNvPr>
          <p:cNvSpPr txBox="1"/>
          <p:nvPr/>
        </p:nvSpPr>
        <p:spPr>
          <a:xfrm>
            <a:off x="1060865" y="1133984"/>
            <a:ext cx="4941213" cy="276999"/>
          </a:xfrm>
          <a:prstGeom prst="rect">
            <a:avLst/>
          </a:prstGeom>
          <a:noFill/>
        </p:spPr>
        <p:txBody>
          <a:bodyPr wrap="square">
            <a:spAutoFit/>
          </a:bodyPr>
          <a:lstStyle/>
          <a:p>
            <a:r>
              <a:rPr lang="el-GR" sz="1200">
                <a:solidFill>
                  <a:schemeClr val="bg1"/>
                </a:solidFill>
                <a:latin typeface="+mj-lt"/>
              </a:rPr>
              <a:t>1</a:t>
            </a:r>
            <a:r>
              <a:rPr lang="el-GR" sz="1200" baseline="30000">
                <a:solidFill>
                  <a:schemeClr val="bg1"/>
                </a:solidFill>
                <a:latin typeface="+mj-lt"/>
              </a:rPr>
              <a:t>η</a:t>
            </a:r>
            <a:r>
              <a:rPr lang="el-GR" sz="1200">
                <a:solidFill>
                  <a:schemeClr val="bg1"/>
                </a:solidFill>
                <a:latin typeface="+mj-lt"/>
              </a:rPr>
              <a:t> Ανταγωνιστική Διαδικασία,  Αύγουστος 2023</a:t>
            </a:r>
            <a:endParaRPr lang="en-US" sz="1200">
              <a:solidFill>
                <a:schemeClr val="bg1"/>
              </a:solidFill>
              <a:latin typeface="+mj-lt"/>
            </a:endParaRPr>
          </a:p>
        </p:txBody>
      </p:sp>
      <p:graphicFrame>
        <p:nvGraphicFramePr>
          <p:cNvPr id="2" name="Table 1">
            <a:extLst>
              <a:ext uri="{FF2B5EF4-FFF2-40B4-BE49-F238E27FC236}">
                <a16:creationId xmlns:a16="http://schemas.microsoft.com/office/drawing/2014/main" id="{27F02A67-DB2E-147C-304B-69F3AA7CABA0}"/>
              </a:ext>
            </a:extLst>
          </p:cNvPr>
          <p:cNvGraphicFramePr>
            <a:graphicFrameLocks noGrp="1"/>
          </p:cNvGraphicFramePr>
          <p:nvPr>
            <p:extLst>
              <p:ext uri="{D42A27DB-BD31-4B8C-83A1-F6EECF244321}">
                <p14:modId xmlns:p14="http://schemas.microsoft.com/office/powerpoint/2010/main" val="3828051196"/>
              </p:ext>
            </p:extLst>
          </p:nvPr>
        </p:nvGraphicFramePr>
        <p:xfrm>
          <a:off x="6822306" y="1194778"/>
          <a:ext cx="2369537" cy="1983280"/>
        </p:xfrm>
        <a:graphic>
          <a:graphicData uri="http://schemas.openxmlformats.org/drawingml/2006/table">
            <a:tbl>
              <a:tblPr>
                <a:tableStyleId>{69C7853C-536D-4A76-A0AE-DD22124D55A5}</a:tableStyleId>
              </a:tblPr>
              <a:tblGrid>
                <a:gridCol w="1680615">
                  <a:extLst>
                    <a:ext uri="{9D8B030D-6E8A-4147-A177-3AD203B41FA5}">
                      <a16:colId xmlns:a16="http://schemas.microsoft.com/office/drawing/2014/main" val="2605496345"/>
                    </a:ext>
                  </a:extLst>
                </a:gridCol>
                <a:gridCol w="688922">
                  <a:extLst>
                    <a:ext uri="{9D8B030D-6E8A-4147-A177-3AD203B41FA5}">
                      <a16:colId xmlns:a16="http://schemas.microsoft.com/office/drawing/2014/main" val="3508744291"/>
                    </a:ext>
                  </a:extLst>
                </a:gridCol>
              </a:tblGrid>
              <a:tr h="201152">
                <a:tc>
                  <a:txBody>
                    <a:bodyPr/>
                    <a:lstStyle/>
                    <a:p>
                      <a:pPr algn="l" fontAlgn="b"/>
                      <a:r>
                        <a:rPr lang="el-GR" sz="700" b="1" u="none" strike="noStrike">
                          <a:solidFill>
                            <a:srgbClr val="000000"/>
                          </a:solidFill>
                          <a:effectLst/>
                        </a:rPr>
                        <a:t>Επωνυμία Εταιρείας/Φυσικού Προσώπου</a:t>
                      </a:r>
                      <a:endParaRPr lang="el-GR" sz="700" b="1" i="0" u="none" strike="noStrike">
                        <a:solidFill>
                          <a:srgbClr val="000000"/>
                        </a:solidFill>
                        <a:effectLst/>
                        <a:latin typeface="+mj-lt"/>
                      </a:endParaRPr>
                    </a:p>
                  </a:txBody>
                  <a:tcPr marL="4071" marR="4071" marT="4071" marB="0" anchor="b"/>
                </a:tc>
                <a:tc>
                  <a:txBody>
                    <a:bodyPr/>
                    <a:lstStyle/>
                    <a:p>
                      <a:pPr algn="ctr" fontAlgn="b"/>
                      <a:r>
                        <a:rPr lang="el-GR" sz="700" b="1" u="none" strike="noStrike">
                          <a:solidFill>
                            <a:srgbClr val="000000"/>
                          </a:solidFill>
                          <a:effectLst/>
                        </a:rPr>
                        <a:t>Μέγιστη Ισχύς (</a:t>
                      </a:r>
                      <a:r>
                        <a:rPr lang="en-US" sz="700" b="1" u="none" strike="noStrike">
                          <a:solidFill>
                            <a:srgbClr val="000000"/>
                          </a:solidFill>
                          <a:effectLst/>
                        </a:rPr>
                        <a:t>MW)</a:t>
                      </a:r>
                      <a:endParaRPr lang="en-US" sz="700" b="1" i="0" u="none" strike="noStrike">
                        <a:solidFill>
                          <a:srgbClr val="000000"/>
                        </a:solidFill>
                        <a:effectLst/>
                        <a:latin typeface="+mj-lt"/>
                      </a:endParaRPr>
                    </a:p>
                  </a:txBody>
                  <a:tcPr marL="4071" marR="4071" marT="4071" marB="0" anchor="b"/>
                </a:tc>
                <a:extLst>
                  <a:ext uri="{0D108BD9-81ED-4DB2-BD59-A6C34878D82A}">
                    <a16:rowId xmlns:a16="http://schemas.microsoft.com/office/drawing/2014/main" val="517057025"/>
                  </a:ext>
                </a:extLst>
              </a:tr>
              <a:tr h="101901">
                <a:tc>
                  <a:txBody>
                    <a:bodyPr/>
                    <a:lstStyle/>
                    <a:p>
                      <a:pPr algn="l" fontAlgn="b"/>
                      <a:r>
                        <a:rPr lang="en-US" sz="700" b="0" u="none" strike="noStrike">
                          <a:solidFill>
                            <a:srgbClr val="000000"/>
                          </a:solidFill>
                          <a:effectLst/>
                        </a:rPr>
                        <a:t>HELLENiQ RENEWABLES</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50</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914274289"/>
                  </a:ext>
                </a:extLst>
              </a:tr>
              <a:tr h="101901">
                <a:tc>
                  <a:txBody>
                    <a:bodyPr/>
                    <a:lstStyle/>
                    <a:p>
                      <a:pPr algn="l" fontAlgn="b"/>
                      <a:r>
                        <a:rPr lang="en-US" sz="700" b="0" u="none" strike="noStrike">
                          <a:solidFill>
                            <a:srgbClr val="000000"/>
                          </a:solidFill>
                          <a:effectLst/>
                        </a:rPr>
                        <a:t>HELLENiQ RENEWABLES</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522787178"/>
                  </a:ext>
                </a:extLst>
              </a:tr>
              <a:tr h="258365">
                <a:tc>
                  <a:txBody>
                    <a:bodyPr/>
                    <a:lstStyle/>
                    <a:p>
                      <a:pPr algn="l" fontAlgn="b"/>
                      <a:r>
                        <a:rPr lang="el-GR" sz="700" b="0" u="none" strike="noStrike">
                          <a:solidFill>
                            <a:srgbClr val="000000"/>
                          </a:solidFill>
                          <a:effectLst/>
                        </a:rPr>
                        <a:t>Μονοπρόσωπη Ανώνυμη</a:t>
                      </a:r>
                      <a:r>
                        <a:rPr lang="en-US" sz="700" b="0" u="none" strike="noStrike">
                          <a:solidFill>
                            <a:srgbClr val="000000"/>
                          </a:solidFill>
                          <a:effectLst/>
                        </a:rPr>
                        <a:t> </a:t>
                      </a:r>
                      <a:r>
                        <a:rPr lang="el-GR" sz="700" b="0" u="none" strike="noStrike">
                          <a:solidFill>
                            <a:srgbClr val="000000"/>
                          </a:solidFill>
                          <a:effectLst/>
                        </a:rPr>
                        <a:t>Εταιρεία Διαχείρισης</a:t>
                      </a:r>
                      <a:r>
                        <a:rPr lang="en-US" sz="700" b="0" u="none" strike="noStrike">
                          <a:solidFill>
                            <a:srgbClr val="000000"/>
                          </a:solidFill>
                          <a:effectLst/>
                        </a:rPr>
                        <a:t> </a:t>
                      </a:r>
                      <a:r>
                        <a:rPr lang="el-GR" sz="700" b="0" u="none" strike="noStrike">
                          <a:solidFill>
                            <a:srgbClr val="000000"/>
                          </a:solidFill>
                          <a:effectLst/>
                        </a:rPr>
                        <a:t>Ανανεώσιμων Πηγών</a:t>
                      </a:r>
                      <a:r>
                        <a:rPr lang="en-US" sz="700" b="0" u="none" strike="noStrike">
                          <a:solidFill>
                            <a:srgbClr val="000000"/>
                          </a:solidFill>
                          <a:effectLst/>
                        </a:rPr>
                        <a:t> </a:t>
                      </a:r>
                      <a:r>
                        <a:rPr lang="el-GR" sz="700" b="0" u="none" strike="noStrike">
                          <a:solidFill>
                            <a:srgbClr val="000000"/>
                          </a:solidFill>
                          <a:effectLst/>
                        </a:rPr>
                        <a:t>Ενέργειας</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50</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105979550"/>
                  </a:ext>
                </a:extLst>
              </a:tr>
              <a:tr h="258365">
                <a:tc>
                  <a:txBody>
                    <a:bodyPr/>
                    <a:lstStyle/>
                    <a:p>
                      <a:pPr algn="l" fontAlgn="b"/>
                      <a:r>
                        <a:rPr lang="el-GR" sz="700" b="0" u="none" strike="noStrike">
                          <a:solidFill>
                            <a:srgbClr val="000000"/>
                          </a:solidFill>
                          <a:effectLst/>
                        </a:rPr>
                        <a:t>Μονοπρόσωπη Ανώνυμη</a:t>
                      </a:r>
                      <a:r>
                        <a:rPr lang="en-US" sz="700" b="0" u="none" strike="noStrike">
                          <a:solidFill>
                            <a:srgbClr val="000000"/>
                          </a:solidFill>
                          <a:effectLst/>
                        </a:rPr>
                        <a:t> </a:t>
                      </a:r>
                      <a:r>
                        <a:rPr lang="el-GR" sz="700" b="0" u="none" strike="noStrike">
                          <a:solidFill>
                            <a:srgbClr val="000000"/>
                          </a:solidFill>
                          <a:effectLst/>
                        </a:rPr>
                        <a:t>Εταιρεία Διαχείρισης</a:t>
                      </a:r>
                      <a:r>
                        <a:rPr lang="en-US" sz="700" b="0" u="none" strike="noStrike">
                          <a:solidFill>
                            <a:srgbClr val="000000"/>
                          </a:solidFill>
                          <a:effectLst/>
                        </a:rPr>
                        <a:t> </a:t>
                      </a:r>
                      <a:r>
                        <a:rPr lang="el-GR" sz="700" b="0" u="none" strike="noStrike">
                          <a:solidFill>
                            <a:srgbClr val="000000"/>
                          </a:solidFill>
                          <a:effectLst/>
                        </a:rPr>
                        <a:t>Ανανεώσιμων Πηγών</a:t>
                      </a:r>
                      <a:r>
                        <a:rPr lang="en-US" sz="700" b="0" u="none" strike="noStrike">
                          <a:solidFill>
                            <a:srgbClr val="000000"/>
                          </a:solidFill>
                          <a:effectLst/>
                        </a:rPr>
                        <a:t> </a:t>
                      </a:r>
                      <a:r>
                        <a:rPr lang="el-GR" sz="700" b="0" u="none" strike="noStrike">
                          <a:solidFill>
                            <a:srgbClr val="000000"/>
                          </a:solidFill>
                          <a:effectLst/>
                        </a:rPr>
                        <a:t>Ενέργειας</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48</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875615022"/>
                  </a:ext>
                </a:extLst>
              </a:tr>
              <a:tr h="101901">
                <a:tc>
                  <a:txBody>
                    <a:bodyPr/>
                    <a:lstStyle/>
                    <a:p>
                      <a:pPr algn="l" fontAlgn="b"/>
                      <a:r>
                        <a:rPr lang="en-US" sz="700" b="0" u="none" strike="noStrike">
                          <a:solidFill>
                            <a:srgbClr val="000000"/>
                          </a:solidFill>
                          <a:effectLst/>
                        </a:rPr>
                        <a:t>INTRA - S. ENERGY</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50</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760078600"/>
                  </a:ext>
                </a:extLst>
              </a:tr>
              <a:tr h="101901">
                <a:tc>
                  <a:txBody>
                    <a:bodyPr/>
                    <a:lstStyle/>
                    <a:p>
                      <a:pPr algn="l" fontAlgn="b"/>
                      <a:r>
                        <a:rPr lang="en-US" sz="700" b="0" u="none" strike="noStrike">
                          <a:solidFill>
                            <a:srgbClr val="000000"/>
                          </a:solidFill>
                          <a:effectLst/>
                        </a:rPr>
                        <a:t>HELLENiQ RENEWABLES</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850012026"/>
                  </a:ext>
                </a:extLst>
              </a:tr>
              <a:tr h="129446">
                <a:tc>
                  <a:txBody>
                    <a:bodyPr/>
                    <a:lstStyle/>
                    <a:p>
                      <a:pPr algn="l" fontAlgn="b"/>
                      <a:r>
                        <a:rPr lang="el-GR" sz="700" b="0" u="none" strike="noStrike">
                          <a:solidFill>
                            <a:srgbClr val="000000"/>
                          </a:solidFill>
                          <a:effectLst/>
                        </a:rPr>
                        <a:t>ΑΕΝΑΟΣ ΣΥΣΣΩΡΕΥΤΕΣ ΕΝΕΡΓΕΙΑΚΗ</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48</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891712208"/>
                  </a:ext>
                </a:extLst>
              </a:tr>
              <a:tr h="194379">
                <a:tc>
                  <a:txBody>
                    <a:bodyPr/>
                    <a:lstStyle/>
                    <a:p>
                      <a:pPr algn="l" fontAlgn="b"/>
                      <a:r>
                        <a:rPr lang="en-US" sz="700" b="0" u="none" strike="noStrike">
                          <a:solidFill>
                            <a:srgbClr val="000000"/>
                          </a:solidFill>
                          <a:effectLst/>
                        </a:rPr>
                        <a:t>INTRA - S. ENERGY</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550560015"/>
                  </a:ext>
                </a:extLst>
              </a:tr>
              <a:tr h="130394">
                <a:tc>
                  <a:txBody>
                    <a:bodyPr/>
                    <a:lstStyle/>
                    <a:p>
                      <a:pPr algn="l" fontAlgn="b"/>
                      <a:r>
                        <a:rPr lang="el-GR" sz="700" b="0" u="none" strike="noStrike">
                          <a:solidFill>
                            <a:srgbClr val="000000"/>
                          </a:solidFill>
                          <a:effectLst/>
                        </a:rPr>
                        <a:t>ΕΝΕΡΓΕΙΑΚΗ ΤΕΧΝΙΚΗ ΑΝΑΠΤΥΞΙΑΚΗ</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7.8</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310672066"/>
                  </a:ext>
                </a:extLst>
              </a:tr>
              <a:tr h="130394">
                <a:tc>
                  <a:txBody>
                    <a:bodyPr/>
                    <a:lstStyle/>
                    <a:p>
                      <a:pPr algn="l" fontAlgn="b"/>
                      <a:r>
                        <a:rPr lang="el-GR" sz="700" b="0" u="none" strike="noStrike">
                          <a:solidFill>
                            <a:srgbClr val="000000"/>
                          </a:solidFill>
                          <a:effectLst/>
                        </a:rPr>
                        <a:t>ΕΝΕΡΓΕΙΑΚΗ ΚΟΙΝΟΤΗΤΑ ΜΕ ΑΓΑΠΗ ΗΛΙΟΣ</a:t>
                      </a:r>
                      <a:endParaRPr lang="el-GR"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8</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744435483"/>
                  </a:ext>
                </a:extLst>
              </a:tr>
              <a:tr h="101901">
                <a:tc>
                  <a:txBody>
                    <a:bodyPr/>
                    <a:lstStyle/>
                    <a:p>
                      <a:pPr algn="l" fontAlgn="b"/>
                      <a:r>
                        <a:rPr lang="en-US" sz="700" b="0" u="none" strike="noStrike">
                          <a:solidFill>
                            <a:srgbClr val="000000"/>
                          </a:solidFill>
                          <a:effectLst/>
                        </a:rPr>
                        <a:t>ENERGY BANK I </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49.9</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82411948"/>
                  </a:ext>
                </a:extLst>
              </a:tr>
              <a:tr h="101901">
                <a:tc>
                  <a:txBody>
                    <a:bodyPr/>
                    <a:lstStyle/>
                    <a:p>
                      <a:pPr algn="l" fontAlgn="b"/>
                      <a:r>
                        <a:rPr lang="en-US" sz="700" b="0" u="none" strike="noStrike">
                          <a:solidFill>
                            <a:srgbClr val="000000"/>
                          </a:solidFill>
                          <a:effectLst/>
                        </a:rPr>
                        <a:t>INTRA - S. ENERGY</a:t>
                      </a:r>
                      <a:endParaRPr lang="en-US" sz="700" b="0" i="0" u="none" strike="noStrike">
                        <a:solidFill>
                          <a:srgbClr val="000000"/>
                        </a:solidFill>
                        <a:effectLst/>
                        <a:latin typeface="+mj-lt"/>
                      </a:endParaRPr>
                    </a:p>
                  </a:txBody>
                  <a:tcPr marL="4071" marR="4071" marT="4071" marB="0" anchor="ctr"/>
                </a:tc>
                <a:tc>
                  <a:txBody>
                    <a:bodyPr/>
                    <a:lstStyle/>
                    <a:p>
                      <a:pPr algn="ctr" fontAlgn="b"/>
                      <a:r>
                        <a:rPr lang="en-US" sz="700" b="0" u="none" strike="noStrike">
                          <a:solidFill>
                            <a:srgbClr val="000000"/>
                          </a:solidFill>
                          <a:effectLs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928574574"/>
                  </a:ext>
                </a:extLst>
              </a:tr>
            </a:tbl>
          </a:graphicData>
        </a:graphic>
      </p:graphicFrame>
      <p:graphicFrame>
        <p:nvGraphicFramePr>
          <p:cNvPr id="3" name="Table 2">
            <a:extLst>
              <a:ext uri="{FF2B5EF4-FFF2-40B4-BE49-F238E27FC236}">
                <a16:creationId xmlns:a16="http://schemas.microsoft.com/office/drawing/2014/main" id="{909E8A02-4A0B-9B53-D5D7-F14D9423E9F5}"/>
              </a:ext>
            </a:extLst>
          </p:cNvPr>
          <p:cNvGraphicFramePr>
            <a:graphicFrameLocks noGrp="1"/>
          </p:cNvGraphicFramePr>
          <p:nvPr>
            <p:extLst>
              <p:ext uri="{D42A27DB-BD31-4B8C-83A1-F6EECF244321}">
                <p14:modId xmlns:p14="http://schemas.microsoft.com/office/powerpoint/2010/main" val="2775075049"/>
              </p:ext>
            </p:extLst>
          </p:nvPr>
        </p:nvGraphicFramePr>
        <p:xfrm>
          <a:off x="9367719" y="1197834"/>
          <a:ext cx="2369537" cy="1650920"/>
        </p:xfrm>
        <a:graphic>
          <a:graphicData uri="http://schemas.openxmlformats.org/drawingml/2006/table">
            <a:tbl>
              <a:tblPr>
                <a:tableStyleId>{775DCB02-9BB8-47FD-8907-85C794F793BA}</a:tableStyleId>
              </a:tblPr>
              <a:tblGrid>
                <a:gridCol w="1676781">
                  <a:extLst>
                    <a:ext uri="{9D8B030D-6E8A-4147-A177-3AD203B41FA5}">
                      <a16:colId xmlns:a16="http://schemas.microsoft.com/office/drawing/2014/main" val="949654376"/>
                    </a:ext>
                  </a:extLst>
                </a:gridCol>
                <a:gridCol w="692756">
                  <a:extLst>
                    <a:ext uri="{9D8B030D-6E8A-4147-A177-3AD203B41FA5}">
                      <a16:colId xmlns:a16="http://schemas.microsoft.com/office/drawing/2014/main" val="2720274843"/>
                    </a:ext>
                  </a:extLst>
                </a:gridCol>
              </a:tblGrid>
              <a:tr h="153300">
                <a:tc>
                  <a:txBody>
                    <a:bodyPr/>
                    <a:lstStyle/>
                    <a:p>
                      <a:pPr marL="0" marR="0" algn="l" rtl="0" fontAlgn="b">
                        <a:lnSpc>
                          <a:spcPct val="100000"/>
                        </a:lnSpc>
                        <a:spcBef>
                          <a:spcPts val="0"/>
                        </a:spcBef>
                        <a:spcAft>
                          <a:spcPts val="0"/>
                        </a:spcAft>
                        <a:buClr>
                          <a:srgbClr val="000000"/>
                        </a:buClr>
                        <a:buFont typeface="Arial"/>
                      </a:pPr>
                      <a:r>
                        <a:rPr lang="el-GR" sz="700" b="1" u="none" strike="noStrike" cap="none">
                          <a:solidFill>
                            <a:srgbClr val="000000"/>
                          </a:solidFill>
                          <a:effectLst/>
                          <a:sym typeface="Arial"/>
                        </a:rPr>
                        <a:t>Επωνυμία</a:t>
                      </a:r>
                      <a:r>
                        <a:rPr lang="en-US" sz="700" b="1" u="none" strike="noStrike" cap="none">
                          <a:solidFill>
                            <a:srgbClr val="000000"/>
                          </a:solidFill>
                          <a:effectLst/>
                          <a:sym typeface="Arial"/>
                        </a:rPr>
                        <a:t> </a:t>
                      </a:r>
                      <a:r>
                        <a:rPr lang="el-GR" sz="700" b="1" u="none" strike="noStrike" cap="none">
                          <a:solidFill>
                            <a:srgbClr val="000000"/>
                          </a:solidFill>
                          <a:effectLst/>
                          <a:sym typeface="Arial"/>
                        </a:rPr>
                        <a:t>Εταιρείας/Φυσικού</a:t>
                      </a:r>
                      <a:r>
                        <a:rPr lang="en-US" sz="700" b="1" u="none" strike="noStrike" cap="none">
                          <a:solidFill>
                            <a:srgbClr val="000000"/>
                          </a:solidFill>
                          <a:effectLst/>
                          <a:sym typeface="Arial"/>
                        </a:rPr>
                        <a:t> </a:t>
                      </a:r>
                      <a:r>
                        <a:rPr lang="el-GR" sz="700" b="1" u="none" strike="noStrike" cap="none">
                          <a:solidFill>
                            <a:srgbClr val="000000"/>
                          </a:solidFill>
                          <a:effectLst/>
                          <a:sym typeface="Arial"/>
                        </a:rPr>
                        <a:t>Προσώπου</a:t>
                      </a:r>
                      <a:endParaRPr lang="en-US" sz="700" b="1" i="0" u="none" strike="noStrike" cap="none">
                        <a:solidFill>
                          <a:srgbClr val="000000"/>
                        </a:solidFill>
                        <a:effectLst/>
                        <a:latin typeface="+mj-lt"/>
                        <a:ea typeface="+mn-ea"/>
                        <a:cs typeface="+mn-cs"/>
                        <a:sym typeface="Arial"/>
                      </a:endParaRPr>
                    </a:p>
                  </a:txBody>
                  <a:tcPr marL="54780" marR="54780" marT="0" marB="0"/>
                </a:tc>
                <a:tc>
                  <a:txBody>
                    <a:bodyPr/>
                    <a:lstStyle/>
                    <a:p>
                      <a:pPr marL="0" marR="0" algn="ctr" rtl="0" fontAlgn="b">
                        <a:lnSpc>
                          <a:spcPct val="100000"/>
                        </a:lnSpc>
                        <a:spcBef>
                          <a:spcPts val="0"/>
                        </a:spcBef>
                        <a:spcAft>
                          <a:spcPts val="0"/>
                        </a:spcAft>
                        <a:buClr>
                          <a:srgbClr val="000000"/>
                        </a:buClr>
                        <a:buFont typeface="Arial"/>
                      </a:pPr>
                      <a:r>
                        <a:rPr lang="el-GR" sz="700" b="1" u="none" strike="noStrike" cap="none">
                          <a:solidFill>
                            <a:srgbClr val="000000"/>
                          </a:solidFill>
                          <a:effectLst/>
                          <a:sym typeface="Arial"/>
                        </a:rPr>
                        <a:t>Ισχύς (MW)</a:t>
                      </a:r>
                      <a:endParaRPr lang="en-US" sz="700" b="1"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2086034861"/>
                  </a:ext>
                </a:extLst>
              </a:tr>
              <a:tr h="129377">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CNI ΕΝΕΡΓΕΙΑΚΗ</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25</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3232684946"/>
                  </a:ext>
                </a:extLst>
              </a:tr>
              <a:tr h="194066">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ΤΕΡΝΑ</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40</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921494169"/>
                  </a:ext>
                </a:extLst>
              </a:tr>
              <a:tr h="99005">
                <a:tc>
                  <a:txBody>
                    <a:bodyPr/>
                    <a:lstStyle/>
                    <a:p>
                      <a:pPr marL="0" marR="0" algn="l" rtl="0" fontAlgn="b">
                        <a:lnSpc>
                          <a:spcPct val="100000"/>
                        </a:lnSpc>
                        <a:spcBef>
                          <a:spcPts val="0"/>
                        </a:spcBef>
                        <a:spcAft>
                          <a:spcPts val="0"/>
                        </a:spcAft>
                        <a:buClr>
                          <a:srgbClr val="000000"/>
                        </a:buClr>
                        <a:buFont typeface="Arial"/>
                      </a:pPr>
                      <a:r>
                        <a:rPr lang="en-US" sz="700" b="0" u="none" strike="noStrike" cap="none">
                          <a:solidFill>
                            <a:srgbClr val="000000"/>
                          </a:solidFill>
                          <a:effectLst/>
                          <a:sym typeface="Arial"/>
                        </a:rPr>
                        <a:t>AMBER-ENERGY </a:t>
                      </a:r>
                      <a:r>
                        <a:rPr lang="el-GR" sz="700" b="0" u="none" strike="noStrike" cap="none">
                          <a:solidFill>
                            <a:srgbClr val="000000"/>
                          </a:solidFill>
                          <a:effectLst/>
                          <a:sym typeface="Arial"/>
                        </a:rPr>
                        <a:t>Ι</a:t>
                      </a:r>
                      <a:r>
                        <a:rPr lang="en-US" sz="700" b="0" u="none" strike="noStrike" cap="none">
                          <a:solidFill>
                            <a:srgbClr val="000000"/>
                          </a:solidFill>
                          <a:effectLst/>
                          <a:sym typeface="Arial"/>
                        </a:rPr>
                        <a:t>.</a:t>
                      </a:r>
                      <a:r>
                        <a:rPr lang="el-GR" sz="700" b="0" u="none" strike="noStrike" cap="none">
                          <a:solidFill>
                            <a:srgbClr val="000000"/>
                          </a:solidFill>
                          <a:effectLst/>
                          <a:sym typeface="Arial"/>
                        </a:rPr>
                        <a:t>Κ</a:t>
                      </a:r>
                      <a:r>
                        <a:rPr lang="en-US" sz="700" b="0" u="none" strike="noStrike" cap="none">
                          <a:solidFill>
                            <a:srgbClr val="000000"/>
                          </a:solidFill>
                          <a:effectLst/>
                          <a:sym typeface="Arial"/>
                        </a:rPr>
                        <a:t>.</a:t>
                      </a:r>
                      <a:r>
                        <a:rPr lang="el-GR" sz="700" b="0" u="none" strike="noStrike" cap="none">
                          <a:solidFill>
                            <a:srgbClr val="000000"/>
                          </a:solidFill>
                          <a:effectLst/>
                          <a:sym typeface="Arial"/>
                        </a:rPr>
                        <a:t>Ε</a:t>
                      </a:r>
                      <a:r>
                        <a:rPr lang="en-US" sz="700" b="0" u="none" strike="noStrike" cap="none">
                          <a:solidFill>
                            <a:srgbClr val="000000"/>
                          </a:solidFill>
                          <a:effectLst/>
                          <a:sym typeface="Arial"/>
                        </a:rPr>
                        <a:t>.</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18</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1159966065"/>
                  </a:ext>
                </a:extLst>
              </a:tr>
              <a:tr h="129377">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MS FLORINA I</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22</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3172585159"/>
                  </a:ext>
                </a:extLst>
              </a:tr>
              <a:tr h="129377">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MS FOKIDA I</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30</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2997048740"/>
                  </a:ext>
                </a:extLst>
              </a:tr>
              <a:tr h="229949">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ΕΝΕΡΓΕΙΑΚΗ ΤΕΧΝΙΚΗ ΑΝΑΠΤΥΞΙΑΚΗ ΜΟΝΟΠΡΟΣΩΠΗ Α.Ε</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8</a:t>
                      </a:r>
                      <a:r>
                        <a:rPr lang="en-US" sz="700" b="0" u="none" strike="noStrike" cap="none">
                          <a:solidFill>
                            <a:srgbClr val="000000"/>
                          </a:solidFill>
                          <a:effectLst/>
                          <a:sym typeface="Arial"/>
                        </a:rPr>
                        <a:t>.</a:t>
                      </a:r>
                      <a:r>
                        <a:rPr lang="el-GR" sz="700" b="0" u="none" strike="noStrike" cap="none">
                          <a:solidFill>
                            <a:srgbClr val="000000"/>
                          </a:solidFill>
                          <a:effectLst/>
                          <a:sym typeface="Arial"/>
                        </a:rPr>
                        <a:t>875</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1629600865"/>
                  </a:ext>
                </a:extLst>
              </a:tr>
              <a:tr h="129377">
                <a:tc>
                  <a:txBody>
                    <a:bodyPr/>
                    <a:lstStyle/>
                    <a:p>
                      <a:pPr marL="0" marR="0" algn="l" rtl="0" fontAlgn="b">
                        <a:lnSpc>
                          <a:spcPct val="100000"/>
                        </a:lnSpc>
                        <a:spcBef>
                          <a:spcPts val="0"/>
                        </a:spcBef>
                        <a:spcAft>
                          <a:spcPts val="0"/>
                        </a:spcAft>
                        <a:buClr>
                          <a:srgbClr val="000000"/>
                        </a:buClr>
                        <a:buFont typeface="Arial"/>
                      </a:pPr>
                      <a:r>
                        <a:rPr lang="en-US" sz="700" b="0" u="none" strike="noStrike" cap="none">
                          <a:solidFill>
                            <a:srgbClr val="000000"/>
                          </a:solidFill>
                          <a:effectLst/>
                          <a:sym typeface="Arial"/>
                        </a:rPr>
                        <a:t>ENEL GREEN POWER HELLAS</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49</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3302062140"/>
                  </a:ext>
                </a:extLst>
              </a:tr>
              <a:tr h="99005">
                <a:tc>
                  <a:txBody>
                    <a:bodyPr/>
                    <a:lstStyle/>
                    <a:p>
                      <a:pPr marL="0" marR="0" algn="l" rtl="0" fontAlgn="b">
                        <a:lnSpc>
                          <a:spcPct val="100000"/>
                        </a:lnSpc>
                        <a:spcBef>
                          <a:spcPts val="0"/>
                        </a:spcBef>
                        <a:spcAft>
                          <a:spcPts val="0"/>
                        </a:spcAft>
                        <a:buClr>
                          <a:srgbClr val="000000"/>
                        </a:buClr>
                        <a:buFont typeface="Arial"/>
                      </a:pPr>
                      <a:r>
                        <a:rPr lang="en-US" sz="700" b="0" u="none" strike="noStrike" cap="none">
                          <a:solidFill>
                            <a:srgbClr val="000000"/>
                          </a:solidFill>
                          <a:effectLst/>
                          <a:sym typeface="Arial"/>
                        </a:rPr>
                        <a:t>BAT. SOLAR </a:t>
                      </a:r>
                      <a:r>
                        <a:rPr lang="el-GR" sz="700" b="0" u="none" strike="noStrike" cap="none">
                          <a:solidFill>
                            <a:srgbClr val="000000"/>
                          </a:solidFill>
                          <a:effectLst/>
                          <a:sym typeface="Arial"/>
                        </a:rPr>
                        <a:t>Ι</a:t>
                      </a:r>
                      <a:r>
                        <a:rPr lang="en-US" sz="700" b="0" u="none" strike="noStrike" cap="none">
                          <a:solidFill>
                            <a:srgbClr val="000000"/>
                          </a:solidFill>
                          <a:effectLst/>
                          <a:sym typeface="Arial"/>
                        </a:rPr>
                        <a:t>.</a:t>
                      </a:r>
                      <a:r>
                        <a:rPr lang="el-GR" sz="700" b="0" u="none" strike="noStrike" cap="none">
                          <a:solidFill>
                            <a:srgbClr val="000000"/>
                          </a:solidFill>
                          <a:effectLst/>
                          <a:sym typeface="Arial"/>
                        </a:rPr>
                        <a:t>Κ</a:t>
                      </a:r>
                      <a:r>
                        <a:rPr lang="en-US" sz="700" b="0" u="none" strike="noStrike" cap="none">
                          <a:solidFill>
                            <a:srgbClr val="000000"/>
                          </a:solidFill>
                          <a:effectLst/>
                          <a:sym typeface="Arial"/>
                        </a:rPr>
                        <a:t>.</a:t>
                      </a:r>
                      <a:r>
                        <a:rPr lang="el-GR" sz="700" b="0" u="none" strike="noStrike" cap="none">
                          <a:solidFill>
                            <a:srgbClr val="000000"/>
                          </a:solidFill>
                          <a:effectLst/>
                          <a:sym typeface="Arial"/>
                        </a:rPr>
                        <a:t>Ε</a:t>
                      </a:r>
                      <a:r>
                        <a:rPr lang="en-US" sz="700" b="0" u="none" strike="noStrike" cap="none">
                          <a:solidFill>
                            <a:srgbClr val="000000"/>
                          </a:solidFill>
                          <a:effectLst/>
                          <a:sym typeface="Arial"/>
                        </a:rPr>
                        <a:t>.</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49</a:t>
                      </a:r>
                      <a:r>
                        <a:rPr lang="en-US" sz="700" b="0" u="none" strike="noStrike" cap="none">
                          <a:solidFill>
                            <a:srgbClr val="000000"/>
                          </a:solidFill>
                          <a:effectLst/>
                          <a:sym typeface="Arial"/>
                        </a:rPr>
                        <a:t>.</a:t>
                      </a:r>
                      <a:r>
                        <a:rPr lang="el-GR" sz="700" b="0" u="none" strike="noStrike" cap="none">
                          <a:solidFill>
                            <a:srgbClr val="000000"/>
                          </a:solidFill>
                          <a:effectLst/>
                          <a:sym typeface="Arial"/>
                        </a:rPr>
                        <a:t>9</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1288474519"/>
                  </a:ext>
                </a:extLst>
              </a:tr>
              <a:tr h="99005">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CNI ΕΝΕΡΓΕΙΑΚΗ</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25</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1949388869"/>
                  </a:ext>
                </a:extLst>
              </a:tr>
              <a:tr h="129377">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MS VIOTIA I</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20</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2632662999"/>
                  </a:ext>
                </a:extLst>
              </a:tr>
              <a:tr h="99005">
                <a:tc>
                  <a:txBody>
                    <a:bodyPr/>
                    <a:lstStyle/>
                    <a:p>
                      <a:pPr marL="0" marR="0" algn="l"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ΗΡΩΝ</a:t>
                      </a:r>
                      <a:endParaRPr lang="en-US" sz="700" b="0" i="0" u="none" strike="noStrike" cap="none">
                        <a:solidFill>
                          <a:srgbClr val="000000"/>
                        </a:solidFill>
                        <a:effectLst/>
                        <a:latin typeface="+mj-lt"/>
                        <a:ea typeface="+mn-ea"/>
                        <a:cs typeface="+mn-cs"/>
                        <a:sym typeface="Arial"/>
                      </a:endParaRPr>
                    </a:p>
                  </a:txBody>
                  <a:tcPr marL="54780" marR="54780" marT="0" marB="0" anchor="ctr"/>
                </a:tc>
                <a:tc>
                  <a:txBody>
                    <a:bodyPr/>
                    <a:lstStyle/>
                    <a:p>
                      <a:pPr marL="0" marR="0" algn="ctr" rtl="0" fontAlgn="b">
                        <a:lnSpc>
                          <a:spcPct val="100000"/>
                        </a:lnSpc>
                        <a:spcBef>
                          <a:spcPts val="0"/>
                        </a:spcBef>
                        <a:spcAft>
                          <a:spcPts val="0"/>
                        </a:spcAft>
                        <a:buClr>
                          <a:srgbClr val="000000"/>
                        </a:buClr>
                        <a:buFont typeface="Arial"/>
                      </a:pPr>
                      <a:r>
                        <a:rPr lang="el-GR" sz="700" b="0" u="none" strike="noStrike" cap="none">
                          <a:solidFill>
                            <a:srgbClr val="000000"/>
                          </a:solidFill>
                          <a:effectLst/>
                          <a:sym typeface="Arial"/>
                        </a:rPr>
                        <a:t>12</a:t>
                      </a:r>
                      <a:endParaRPr lang="en-US" sz="700" b="0" i="0" u="none" strike="noStrike" cap="none">
                        <a:solidFill>
                          <a:srgbClr val="000000"/>
                        </a:solidFill>
                        <a:effectLst/>
                        <a:latin typeface="+mj-lt"/>
                        <a:ea typeface="+mn-ea"/>
                        <a:cs typeface="+mn-cs"/>
                        <a:sym typeface="Arial"/>
                      </a:endParaRPr>
                    </a:p>
                  </a:txBody>
                  <a:tcPr marL="54780" marR="54780" marT="0" marB="0" anchor="ctr"/>
                </a:tc>
                <a:extLst>
                  <a:ext uri="{0D108BD9-81ED-4DB2-BD59-A6C34878D82A}">
                    <a16:rowId xmlns:a16="http://schemas.microsoft.com/office/drawing/2014/main" val="2144701730"/>
                  </a:ext>
                </a:extLst>
              </a:tr>
            </a:tbl>
          </a:graphicData>
        </a:graphic>
      </p:graphicFrame>
      <p:graphicFrame>
        <p:nvGraphicFramePr>
          <p:cNvPr id="5" name="Table 4">
            <a:extLst>
              <a:ext uri="{FF2B5EF4-FFF2-40B4-BE49-F238E27FC236}">
                <a16:creationId xmlns:a16="http://schemas.microsoft.com/office/drawing/2014/main" id="{9B676D14-5005-9C3E-32E6-57B1A5151525}"/>
              </a:ext>
            </a:extLst>
          </p:cNvPr>
          <p:cNvGraphicFramePr>
            <a:graphicFrameLocks noGrp="1"/>
          </p:cNvGraphicFramePr>
          <p:nvPr>
            <p:extLst>
              <p:ext uri="{D42A27DB-BD31-4B8C-83A1-F6EECF244321}">
                <p14:modId xmlns:p14="http://schemas.microsoft.com/office/powerpoint/2010/main" val="2687836337"/>
              </p:ext>
            </p:extLst>
          </p:nvPr>
        </p:nvGraphicFramePr>
        <p:xfrm>
          <a:off x="7121606" y="3551695"/>
          <a:ext cx="3390539" cy="3230335"/>
        </p:xfrm>
        <a:graphic>
          <a:graphicData uri="http://schemas.openxmlformats.org/drawingml/2006/table">
            <a:tbl>
              <a:tblPr>
                <a:tableStyleId>{69C7853C-536D-4A76-A0AE-DD22124D55A5}</a:tableStyleId>
              </a:tblPr>
              <a:tblGrid>
                <a:gridCol w="2405952">
                  <a:extLst>
                    <a:ext uri="{9D8B030D-6E8A-4147-A177-3AD203B41FA5}">
                      <a16:colId xmlns:a16="http://schemas.microsoft.com/office/drawing/2014/main" val="2605496345"/>
                    </a:ext>
                  </a:extLst>
                </a:gridCol>
                <a:gridCol w="984587">
                  <a:extLst>
                    <a:ext uri="{9D8B030D-6E8A-4147-A177-3AD203B41FA5}">
                      <a16:colId xmlns:a16="http://schemas.microsoft.com/office/drawing/2014/main" val="3508744291"/>
                    </a:ext>
                  </a:extLst>
                </a:gridCol>
              </a:tblGrid>
              <a:tr h="183757">
                <a:tc>
                  <a:txBody>
                    <a:bodyPr/>
                    <a:lstStyle/>
                    <a:p>
                      <a:pPr algn="l" fontAlgn="b"/>
                      <a:r>
                        <a:rPr lang="el-GR" sz="700" b="1" u="none" strike="noStrike">
                          <a:solidFill>
                            <a:srgbClr val="000000"/>
                          </a:solidFill>
                          <a:effectLst/>
                        </a:rPr>
                        <a:t>Επωνυμία Εταιρείας/Φυσικού Προσώπου</a:t>
                      </a:r>
                      <a:endParaRPr lang="el-GR" sz="700" b="1" i="0" u="none" strike="noStrike">
                        <a:solidFill>
                          <a:srgbClr val="000000"/>
                        </a:solidFill>
                        <a:effectLst/>
                        <a:latin typeface="+mj-lt"/>
                      </a:endParaRPr>
                    </a:p>
                  </a:txBody>
                  <a:tcPr marL="4071" marR="4071" marT="4071" marB="0" anchor="b"/>
                </a:tc>
                <a:tc>
                  <a:txBody>
                    <a:bodyPr/>
                    <a:lstStyle/>
                    <a:p>
                      <a:pPr algn="ctr" fontAlgn="b"/>
                      <a:r>
                        <a:rPr lang="el-GR" sz="700" b="1" u="none" strike="noStrike">
                          <a:solidFill>
                            <a:srgbClr val="000000"/>
                          </a:solidFill>
                          <a:effectLst/>
                        </a:rPr>
                        <a:t>Μέγιστη Ισχύς (</a:t>
                      </a:r>
                      <a:r>
                        <a:rPr lang="en-US" sz="700" b="1" u="none" strike="noStrike">
                          <a:solidFill>
                            <a:srgbClr val="000000"/>
                          </a:solidFill>
                          <a:effectLst/>
                        </a:rPr>
                        <a:t>MW)</a:t>
                      </a:r>
                      <a:endParaRPr lang="en-US" sz="700" b="1" i="0" u="none" strike="noStrike">
                        <a:solidFill>
                          <a:srgbClr val="000000"/>
                        </a:solidFill>
                        <a:effectLst/>
                        <a:latin typeface="+mj-lt"/>
                      </a:endParaRPr>
                    </a:p>
                  </a:txBody>
                  <a:tcPr marL="4071" marR="4071" marT="4071" marB="0" anchor="b"/>
                </a:tc>
                <a:extLst>
                  <a:ext uri="{0D108BD9-81ED-4DB2-BD59-A6C34878D82A}">
                    <a16:rowId xmlns:a16="http://schemas.microsoft.com/office/drawing/2014/main" val="517057025"/>
                  </a:ext>
                </a:extLst>
              </a:tr>
              <a:tr h="204011">
                <a:tc>
                  <a:txBody>
                    <a:bodyPr/>
                    <a:lstStyle/>
                    <a:p>
                      <a:pPr algn="l" fontAlgn="b"/>
                      <a:r>
                        <a:rPr lang="el-GR" sz="700" b="0" u="none" strike="noStrike" kern="1200">
                          <a:solidFill>
                            <a:srgbClr val="000000"/>
                          </a:solidFill>
                          <a:effectLst/>
                          <a:latin typeface="+mn-lt"/>
                          <a:ea typeface="+mn-ea"/>
                          <a:cs typeface="+mn-cs"/>
                        </a:rPr>
                        <a:t>ΜΟΝΟΠΡΟΣΩΠΗ ΑΝΩΝΥΜΗ ΕΤΑΙΡΕΙΑ ΔΙΑΧΕΙΡΙΣΗΣ ΑΝΑΝΕΩΣΙΜΩΝ ΠΗΓΩΝ ΕΝΕΡΓΕΙΑΣ</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i="0" u="none" strike="noStrike">
                          <a:solidFill>
                            <a:srgbClr val="000000"/>
                          </a:solidFill>
                          <a:effectLst/>
                          <a:latin typeface="+mj-lt"/>
                        </a:rPr>
                        <a:t>50</a:t>
                      </a:r>
                    </a:p>
                  </a:txBody>
                  <a:tcPr marL="4071" marR="4071" marT="4071" marB="0" anchor="ctr"/>
                </a:tc>
                <a:extLst>
                  <a:ext uri="{0D108BD9-81ED-4DB2-BD59-A6C34878D82A}">
                    <a16:rowId xmlns:a16="http://schemas.microsoft.com/office/drawing/2014/main" val="2914274289"/>
                  </a:ext>
                </a:extLst>
              </a:tr>
              <a:tr h="103915">
                <a:tc>
                  <a:txBody>
                    <a:bodyPr/>
                    <a:lstStyle/>
                    <a:p>
                      <a:pPr algn="l" fontAlgn="b"/>
                      <a:r>
                        <a:rPr lang="el-GR" sz="700" b="0" u="none" strike="noStrike" kern="1200">
                          <a:solidFill>
                            <a:srgbClr val="000000"/>
                          </a:solidFill>
                          <a:effectLst/>
                          <a:latin typeface="+mn-lt"/>
                          <a:ea typeface="+mn-ea"/>
                          <a:cs typeface="+mn-cs"/>
                        </a:rPr>
                        <a:t>ΜΙΚΡΟ ΠΑΤΩΜΑ ΕΝΕΡΓΕΙΑΚΗ ΜΟΝΟΠΡΟΣΩΠΗ Α.Ε</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i="0" u="none" strike="noStrike">
                          <a:solidFill>
                            <a:srgbClr val="000000"/>
                          </a:solidFill>
                          <a:effectLst/>
                          <a:latin typeface="+mj-l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522787178"/>
                  </a:ext>
                </a:extLst>
              </a:tr>
              <a:tr h="242418">
                <a:tc>
                  <a:txBody>
                    <a:bodyPr/>
                    <a:lstStyle/>
                    <a:p>
                      <a:pPr algn="l" fontAlgn="b"/>
                      <a:r>
                        <a:rPr lang="el-GR" sz="700" b="0" u="none" strike="noStrike" kern="1200">
                          <a:solidFill>
                            <a:srgbClr val="000000"/>
                          </a:solidFill>
                          <a:effectLst/>
                          <a:latin typeface="+mn-lt"/>
                          <a:ea typeface="+mn-ea"/>
                          <a:cs typeface="+mn-cs"/>
                        </a:rPr>
                        <a:t>ΜΙΚΡΟ ΠΑΤΩΜΑ ΕΝΕΡΓΕΙΑΚΗ ΜΟΝΟΠΡΟΣΩΠΗ Α.Ε</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i="0" u="none" strike="noStrike">
                          <a:solidFill>
                            <a:srgbClr val="000000"/>
                          </a:solidFill>
                          <a:effectLst/>
                          <a:latin typeface="+mj-l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105979550"/>
                  </a:ext>
                </a:extLst>
              </a:tr>
              <a:tr h="242418">
                <a:tc>
                  <a:txBody>
                    <a:bodyPr/>
                    <a:lstStyle/>
                    <a:p>
                      <a:pPr algn="l" fontAlgn="b"/>
                      <a:r>
                        <a:rPr lang="en-US" sz="700" b="0" i="0" u="none" strike="noStrike">
                          <a:solidFill>
                            <a:srgbClr val="000000"/>
                          </a:solidFill>
                          <a:effectLst/>
                          <a:latin typeface="+mj-lt"/>
                        </a:rPr>
                        <a:t>FARIA RENEWABLES </a:t>
                      </a:r>
                      <a:r>
                        <a:rPr lang="el-GR" sz="700" b="0" i="0" u="none" strike="noStrike">
                          <a:solidFill>
                            <a:srgbClr val="000000"/>
                          </a:solidFill>
                          <a:effectLst/>
                          <a:latin typeface="+mj-lt"/>
                        </a:rPr>
                        <a:t>ΑΕ</a:t>
                      </a:r>
                    </a:p>
                  </a:txBody>
                  <a:tcPr marL="4071" marR="4071" marT="4071" marB="0" anchor="ctr"/>
                </a:tc>
                <a:tc>
                  <a:txBody>
                    <a:bodyPr/>
                    <a:lstStyle/>
                    <a:p>
                      <a:pPr algn="ctr" fontAlgn="b"/>
                      <a:r>
                        <a:rPr lang="el-GR" sz="700" b="0" i="0" u="none" strike="noStrike">
                          <a:solidFill>
                            <a:srgbClr val="000000"/>
                          </a:solidFill>
                          <a:effectLst/>
                          <a:latin typeface="+mj-lt"/>
                        </a:rPr>
                        <a:t>50</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2875615022"/>
                  </a:ext>
                </a:extLst>
              </a:tr>
              <a:tr h="204011">
                <a:tc>
                  <a:txBody>
                    <a:bodyPr/>
                    <a:lstStyle/>
                    <a:p>
                      <a:pPr algn="l" fontAlgn="b"/>
                      <a:r>
                        <a:rPr lang="en-US" sz="700" b="0" i="0" u="none" strike="noStrike">
                          <a:solidFill>
                            <a:srgbClr val="000000"/>
                          </a:solidFill>
                          <a:effectLst/>
                          <a:latin typeface="+mj-lt"/>
                        </a:rPr>
                        <a:t>HELLENiQ RENEWABLES </a:t>
                      </a:r>
                      <a:r>
                        <a:rPr lang="el-GR" sz="700" b="0" i="0" u="none" strike="noStrike">
                          <a:solidFill>
                            <a:srgbClr val="000000"/>
                          </a:solidFill>
                          <a:effectLst/>
                          <a:latin typeface="+mj-lt"/>
                        </a:rPr>
                        <a:t>ΜΟΝΟΠΡΟΣΩΠΗ ΑΝΩΝΥΜΗ ΕΤΑΙΡΕΙΑ</a:t>
                      </a:r>
                      <a:endParaRPr lang="en-US" sz="700" b="0" i="0" u="none" strike="noStrike">
                        <a:solidFill>
                          <a:srgbClr val="000000"/>
                        </a:solidFill>
                        <a:effectLst/>
                        <a:latin typeface="+mj-lt"/>
                      </a:endParaRPr>
                    </a:p>
                  </a:txBody>
                  <a:tcPr marL="4071" marR="4071" marT="4071" marB="0" anchor="ctr"/>
                </a:tc>
                <a:tc>
                  <a:txBody>
                    <a:bodyPr/>
                    <a:lstStyle/>
                    <a:p>
                      <a:pPr algn="ctr" fontAlgn="b"/>
                      <a:r>
                        <a:rPr lang="el-GR" sz="700" b="0" i="0" u="none" strike="noStrike">
                          <a:solidFill>
                            <a:srgbClr val="000000"/>
                          </a:solidFill>
                          <a:effectLst/>
                          <a:latin typeface="+mj-l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760078600"/>
                  </a:ext>
                </a:extLst>
              </a:tr>
              <a:tr h="204011">
                <a:tc>
                  <a:txBody>
                    <a:bodyPr/>
                    <a:lstStyle/>
                    <a:p>
                      <a:pPr algn="l" fontAlgn="b"/>
                      <a:r>
                        <a:rPr lang="en-US" sz="700" b="0" i="0" u="none" strike="noStrike">
                          <a:solidFill>
                            <a:srgbClr val="000000"/>
                          </a:solidFill>
                          <a:effectLst/>
                          <a:latin typeface="+mj-lt"/>
                        </a:rPr>
                        <a:t>HELLENiQ RENEWABLES </a:t>
                      </a:r>
                      <a:r>
                        <a:rPr lang="el-GR" sz="700" b="0" i="0" u="none" strike="noStrike">
                          <a:solidFill>
                            <a:srgbClr val="000000"/>
                          </a:solidFill>
                          <a:effectLst/>
                          <a:latin typeface="+mj-lt"/>
                        </a:rPr>
                        <a:t>ΜΟΝΟΠΡΟΣΩΠΗ ΑΝΩΝΥΜΗ ΕΤΑΙΡΕΙΑ</a:t>
                      </a:r>
                      <a:endParaRPr lang="en-US" sz="700" b="0" i="0" u="none" strike="noStrike">
                        <a:solidFill>
                          <a:srgbClr val="000000"/>
                        </a:solidFill>
                        <a:effectLst/>
                        <a:latin typeface="+mj-lt"/>
                      </a:endParaRPr>
                    </a:p>
                  </a:txBody>
                  <a:tcPr marL="4071" marR="4071" marT="4071" marB="0" anchor="ctr"/>
                </a:tc>
                <a:tc>
                  <a:txBody>
                    <a:bodyPr/>
                    <a:lstStyle/>
                    <a:p>
                      <a:pPr algn="ctr" fontAlgn="b"/>
                      <a:r>
                        <a:rPr lang="el-GR" sz="700" b="0" i="0" u="none" strike="noStrike">
                          <a:solidFill>
                            <a:srgbClr val="000000"/>
                          </a:solidFill>
                          <a:effectLst/>
                          <a:latin typeface="+mj-lt"/>
                        </a:rPr>
                        <a:t>25</a:t>
                      </a:r>
                      <a:endParaRPr lang="en-US" sz="700" b="0" i="0" u="none" strike="noStrike">
                        <a:solidFill>
                          <a:srgbClr val="000000"/>
                        </a:solidFill>
                        <a:effectLst/>
                        <a:latin typeface="+mj-lt"/>
                      </a:endParaRPr>
                    </a:p>
                  </a:txBody>
                  <a:tcPr marL="4071" marR="4071" marT="4071" marB="0" anchor="ctr"/>
                </a:tc>
                <a:extLst>
                  <a:ext uri="{0D108BD9-81ED-4DB2-BD59-A6C34878D82A}">
                    <a16:rowId xmlns:a16="http://schemas.microsoft.com/office/drawing/2014/main" val="1850012026"/>
                  </a:ext>
                </a:extLst>
              </a:tr>
              <a:tr h="204011">
                <a:tc>
                  <a:txBody>
                    <a:bodyPr/>
                    <a:lstStyle/>
                    <a:p>
                      <a:pPr algn="l" fontAlgn="b"/>
                      <a:r>
                        <a:rPr lang="el-GR" sz="700" b="0" u="none" strike="noStrike" kern="1200">
                          <a:solidFill>
                            <a:srgbClr val="000000"/>
                          </a:solidFill>
                          <a:effectLst/>
                          <a:latin typeface="+mn-lt"/>
                          <a:ea typeface="+mn-ea"/>
                          <a:cs typeface="+mn-cs"/>
                        </a:rPr>
                        <a:t>ΗΛΙΟΘΕΜΑ ΕΝΕΡΓΕΙΑΚΗ ΜΟΝΟΠΡΟΣΩΠΗ ΑΝΩΝΥΜΗ ΕΤΑΙΡΕΙΑ </a:t>
                      </a: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1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2891712208"/>
                  </a:ext>
                </a:extLst>
              </a:tr>
              <a:tr h="182382">
                <a:tc>
                  <a:txBody>
                    <a:bodyPr/>
                    <a:lstStyle/>
                    <a:p>
                      <a:pPr algn="l" fontAlgn="b"/>
                      <a:r>
                        <a:rPr lang="en-US" sz="700" b="0" u="none" strike="noStrike" kern="1200">
                          <a:solidFill>
                            <a:srgbClr val="000000"/>
                          </a:solidFill>
                          <a:effectLst/>
                          <a:latin typeface="+mn-lt"/>
                          <a:ea typeface="+mn-ea"/>
                          <a:cs typeface="+mn-cs"/>
                        </a:rPr>
                        <a:t>MS FLORINA I </a:t>
                      </a:r>
                      <a:r>
                        <a:rPr lang="el-GR" sz="700" b="0" u="none" strike="noStrike" kern="1200">
                          <a:solidFill>
                            <a:srgbClr val="000000"/>
                          </a:solidFill>
                          <a:effectLst/>
                          <a:latin typeface="+mn-lt"/>
                          <a:ea typeface="+mn-ea"/>
                          <a:cs typeface="+mn-cs"/>
                        </a:rPr>
                        <a:t>ΜΟΝΟΠΡΟΣΩΠΗ ΑΝΩΝΥΜΗ ΕΤΑΙΡΕΙΑ</a:t>
                      </a: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2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2550560015"/>
                  </a:ext>
                </a:extLst>
              </a:tr>
              <a:tr h="122346">
                <a:tc>
                  <a:txBody>
                    <a:bodyPr/>
                    <a:lstStyle/>
                    <a:p>
                      <a:pPr algn="l" fontAlgn="b"/>
                      <a:r>
                        <a:rPr lang="el-GR" sz="700" b="0" u="none" strike="noStrike" kern="1200">
                          <a:solidFill>
                            <a:srgbClr val="000000"/>
                          </a:solidFill>
                          <a:effectLst/>
                          <a:latin typeface="+mn-lt"/>
                          <a:ea typeface="+mn-ea"/>
                          <a:cs typeface="+mn-cs"/>
                        </a:rPr>
                        <a:t>ΑΡΚΑΔΙΑ STORAGE ΜΟΝΟΠΡΟΣΩΠΗ ΑΝΩΝΥΜΗ ΕΤΑΙΡΕΙΑ</a:t>
                      </a: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1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2310672066"/>
                  </a:ext>
                </a:extLst>
              </a:tr>
              <a:tr h="204011">
                <a:tc>
                  <a:txBody>
                    <a:bodyPr/>
                    <a:lstStyle/>
                    <a:p>
                      <a:pPr algn="l" fontAlgn="b"/>
                      <a:r>
                        <a:rPr lang="en-US" sz="700" b="0" i="0" u="none" strike="noStrike" kern="1200">
                          <a:solidFill>
                            <a:srgbClr val="000000"/>
                          </a:solidFill>
                          <a:effectLst/>
                          <a:latin typeface="+mj-lt"/>
                          <a:ea typeface="+mn-ea"/>
                          <a:cs typeface="+mn-cs"/>
                        </a:rPr>
                        <a:t>DISPATCH RENEWABLE ENERGY </a:t>
                      </a:r>
                      <a:r>
                        <a:rPr lang="el-GR" sz="700" b="0" i="0" u="none" strike="noStrike" kern="1200">
                          <a:solidFill>
                            <a:srgbClr val="000000"/>
                          </a:solidFill>
                          <a:effectLst/>
                          <a:latin typeface="+mj-lt"/>
                          <a:ea typeface="+mn-ea"/>
                          <a:cs typeface="+mn-cs"/>
                        </a:rPr>
                        <a:t>ΕΝΕΡΓΕΙΑΚΗ ΜΟΝΟΠΡΟΣΩΠΗ ΑΝΩΝΥΜΗ ΕΤΑΙΡΕΙΑ</a:t>
                      </a:r>
                    </a:p>
                  </a:txBody>
                  <a:tcPr marL="4071" marR="4071" marT="4071" marB="0" anchor="ctr"/>
                </a:tc>
                <a:tc>
                  <a:txBody>
                    <a:bodyPr/>
                    <a:lstStyle/>
                    <a:p>
                      <a:pPr algn="ctr" fontAlgn="b"/>
                      <a:r>
                        <a:rPr lang="el-GR" sz="700" b="0" i="0" u="none" strike="noStrike" kern="1200">
                          <a:solidFill>
                            <a:srgbClr val="000000"/>
                          </a:solidFill>
                          <a:effectLst/>
                          <a:latin typeface="+mj-lt"/>
                          <a:ea typeface="+mn-ea"/>
                          <a:cs typeface="+mn-cs"/>
                        </a:rPr>
                        <a:t>49</a:t>
                      </a:r>
                      <a:endParaRPr lang="en-US" sz="700" b="0" i="0" u="none" strike="noStrike" kern="1200">
                        <a:solidFill>
                          <a:srgbClr val="000000"/>
                        </a:solidFill>
                        <a:effectLst/>
                        <a:latin typeface="+mj-lt"/>
                        <a:ea typeface="+mn-ea"/>
                        <a:cs typeface="+mn-cs"/>
                      </a:endParaRPr>
                    </a:p>
                  </a:txBody>
                  <a:tcPr marL="4071" marR="4071" marT="4071" marB="0" anchor="ctr"/>
                </a:tc>
                <a:extLst>
                  <a:ext uri="{0D108BD9-81ED-4DB2-BD59-A6C34878D82A}">
                    <a16:rowId xmlns:a16="http://schemas.microsoft.com/office/drawing/2014/main" val="2744435483"/>
                  </a:ext>
                </a:extLst>
              </a:tr>
              <a:tr h="204011">
                <a:tc>
                  <a:txBody>
                    <a:bodyPr/>
                    <a:lstStyle/>
                    <a:p>
                      <a:pPr algn="l" fontAlgn="b"/>
                      <a:r>
                        <a:rPr lang="el-GR" sz="700" b="0" i="0" u="none" strike="noStrike" kern="1200">
                          <a:solidFill>
                            <a:srgbClr val="000000"/>
                          </a:solidFill>
                          <a:effectLst/>
                          <a:latin typeface="+mj-lt"/>
                          <a:ea typeface="+mn-ea"/>
                          <a:cs typeface="+mn-cs"/>
                        </a:rPr>
                        <a:t>ΤΕΡΝΑ ΕΝΕΡΓΕΙΑΚΗ ΑΝΩΝΥΜΗ ΒΙΟΜΗΧΑΝΙΚΗ ΕΜΠΟΡΙΚΗ ΤΕΧΝΙΚΗ ΕΤΑΙΡΕΙΑ</a:t>
                      </a:r>
                      <a:endParaRPr lang="en-US" sz="700" b="0" i="0" u="none" strike="noStrike" kern="1200">
                        <a:solidFill>
                          <a:srgbClr val="000000"/>
                        </a:solidFill>
                        <a:effectLst/>
                        <a:latin typeface="+mj-lt"/>
                        <a:ea typeface="+mn-ea"/>
                        <a:cs typeface="+mn-cs"/>
                      </a:endParaRPr>
                    </a:p>
                  </a:txBody>
                  <a:tcPr marL="4071" marR="4071" marT="4071" marB="0" anchor="ctr"/>
                </a:tc>
                <a:tc>
                  <a:txBody>
                    <a:bodyPr/>
                    <a:lstStyle/>
                    <a:p>
                      <a:pPr algn="ctr" fontAlgn="b"/>
                      <a:r>
                        <a:rPr lang="el-GR" sz="700" b="0" i="0" u="none" strike="noStrike" kern="1200">
                          <a:solidFill>
                            <a:srgbClr val="000000"/>
                          </a:solidFill>
                          <a:effectLst/>
                          <a:latin typeface="+mj-lt"/>
                          <a:ea typeface="+mn-ea"/>
                          <a:cs typeface="+mn-cs"/>
                        </a:rPr>
                        <a:t>50</a:t>
                      </a:r>
                      <a:endParaRPr lang="en-US" sz="700" b="0" i="0" u="none" strike="noStrike" kern="1200">
                        <a:solidFill>
                          <a:srgbClr val="000000"/>
                        </a:solidFill>
                        <a:effectLst/>
                        <a:latin typeface="+mj-lt"/>
                        <a:ea typeface="+mn-ea"/>
                        <a:cs typeface="+mn-cs"/>
                      </a:endParaRPr>
                    </a:p>
                  </a:txBody>
                  <a:tcPr marL="4071" marR="4071" marT="4071" marB="0" anchor="ctr"/>
                </a:tc>
                <a:extLst>
                  <a:ext uri="{0D108BD9-81ED-4DB2-BD59-A6C34878D82A}">
                    <a16:rowId xmlns:a16="http://schemas.microsoft.com/office/drawing/2014/main" val="182411948"/>
                  </a:ext>
                </a:extLst>
              </a:tr>
              <a:tr h="204011">
                <a:tc>
                  <a:txBody>
                    <a:bodyPr/>
                    <a:lstStyle/>
                    <a:p>
                      <a:pPr algn="l" fontAlgn="b"/>
                      <a:r>
                        <a:rPr lang="el-GR" sz="700" b="0" i="0" u="none" strike="noStrike" kern="1200">
                          <a:solidFill>
                            <a:srgbClr val="000000"/>
                          </a:solidFill>
                          <a:effectLst/>
                          <a:latin typeface="+mj-lt"/>
                          <a:ea typeface="+mn-ea"/>
                          <a:cs typeface="+mn-cs"/>
                        </a:rPr>
                        <a:t>PLAIN SOLAR ΜΟΝΟΠΡΟΣΩΠΗ ΑΝΩΝΥΜΗ ΕΤΑΙΡΕΙΑ ΠΑΡΑΓΩΓΗΣ ΚΑΙ ΕΚΜΕΤΑΛΛΕΥΣΗΣ ΕΝΕΡΓΕΙΑΣ</a:t>
                      </a:r>
                      <a:endParaRPr lang="en-US" sz="700" b="0" i="0" u="none" strike="noStrike" kern="1200">
                        <a:solidFill>
                          <a:srgbClr val="000000"/>
                        </a:solidFill>
                        <a:effectLst/>
                        <a:latin typeface="+mj-lt"/>
                        <a:ea typeface="+mn-ea"/>
                        <a:cs typeface="+mn-cs"/>
                      </a:endParaRPr>
                    </a:p>
                  </a:txBody>
                  <a:tcPr marL="4071" marR="4071" marT="4071" marB="0" anchor="ctr"/>
                </a:tc>
                <a:tc>
                  <a:txBody>
                    <a:bodyPr/>
                    <a:lstStyle/>
                    <a:p>
                      <a:pPr algn="ctr" fontAlgn="b"/>
                      <a:r>
                        <a:rPr lang="el-GR" sz="700" b="0" i="0" u="none" strike="noStrike" kern="1200">
                          <a:solidFill>
                            <a:srgbClr val="000000"/>
                          </a:solidFill>
                          <a:effectLst/>
                          <a:latin typeface="+mj-lt"/>
                          <a:ea typeface="+mn-ea"/>
                          <a:cs typeface="+mn-cs"/>
                        </a:rPr>
                        <a:t>7,9</a:t>
                      </a:r>
                      <a:endParaRPr lang="en-US" sz="700" b="0" i="0" u="none" strike="noStrike" kern="1200">
                        <a:solidFill>
                          <a:srgbClr val="000000"/>
                        </a:solidFill>
                        <a:effectLst/>
                        <a:latin typeface="+mj-lt"/>
                        <a:ea typeface="+mn-ea"/>
                        <a:cs typeface="+mn-cs"/>
                      </a:endParaRPr>
                    </a:p>
                  </a:txBody>
                  <a:tcPr marL="4071" marR="4071" marT="4071" marB="0" anchor="ctr"/>
                </a:tc>
                <a:extLst>
                  <a:ext uri="{0D108BD9-81ED-4DB2-BD59-A6C34878D82A}">
                    <a16:rowId xmlns:a16="http://schemas.microsoft.com/office/drawing/2014/main" val="1928574574"/>
                  </a:ext>
                </a:extLst>
              </a:tr>
              <a:tr h="103915">
                <a:tc>
                  <a:txBody>
                    <a:bodyPr/>
                    <a:lstStyle/>
                    <a:p>
                      <a:pPr algn="l" fontAlgn="b"/>
                      <a:r>
                        <a:rPr lang="en-US" sz="700" b="0" u="none" strike="noStrike" kern="1200">
                          <a:solidFill>
                            <a:srgbClr val="000000"/>
                          </a:solidFill>
                          <a:effectLst/>
                          <a:latin typeface="+mn-lt"/>
                          <a:ea typeface="+mn-ea"/>
                          <a:cs typeface="+mn-cs"/>
                        </a:rPr>
                        <a:t>ATTICADCONE </a:t>
                      </a:r>
                      <a:r>
                        <a:rPr lang="el-GR" sz="700" b="0" u="none" strike="noStrike" kern="1200">
                          <a:solidFill>
                            <a:srgbClr val="000000"/>
                          </a:solidFill>
                          <a:effectLst/>
                          <a:latin typeface="+mn-lt"/>
                          <a:ea typeface="+mn-ea"/>
                          <a:cs typeface="+mn-cs"/>
                        </a:rPr>
                        <a:t>ΑΕ </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23,7</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3951946063"/>
                  </a:ext>
                </a:extLst>
              </a:tr>
              <a:tr h="103915">
                <a:tc>
                  <a:txBody>
                    <a:bodyPr/>
                    <a:lstStyle/>
                    <a:p>
                      <a:pPr algn="l" fontAlgn="b"/>
                      <a:r>
                        <a:rPr lang="en-US" sz="700" b="0" u="none" strike="noStrike" kern="1200">
                          <a:solidFill>
                            <a:srgbClr val="000000"/>
                          </a:solidFill>
                          <a:effectLst/>
                          <a:latin typeface="+mn-lt"/>
                          <a:ea typeface="+mn-ea"/>
                          <a:cs typeface="+mn-cs"/>
                        </a:rPr>
                        <a:t>THESSDCONE </a:t>
                      </a:r>
                      <a:r>
                        <a:rPr lang="el-GR" sz="700" b="0" u="none" strike="noStrike" kern="1200">
                          <a:solidFill>
                            <a:srgbClr val="000000"/>
                          </a:solidFill>
                          <a:effectLst/>
                          <a:latin typeface="+mn-lt"/>
                          <a:ea typeface="+mn-ea"/>
                          <a:cs typeface="+mn-cs"/>
                        </a:rPr>
                        <a:t>Α Ε </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15,8</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1801856867"/>
                  </a:ext>
                </a:extLst>
              </a:tr>
              <a:tr h="103915">
                <a:tc>
                  <a:txBody>
                    <a:bodyPr/>
                    <a:lstStyle/>
                    <a:p>
                      <a:pPr algn="l" fontAlgn="b"/>
                      <a:r>
                        <a:rPr lang="en-US" sz="700" b="0" u="none" strike="noStrike" kern="1200">
                          <a:solidFill>
                            <a:srgbClr val="000000"/>
                          </a:solidFill>
                          <a:effectLst/>
                          <a:latin typeface="+mn-lt"/>
                          <a:ea typeface="+mn-ea"/>
                          <a:cs typeface="+mn-cs"/>
                        </a:rPr>
                        <a:t>ECOSOLAR </a:t>
                      </a:r>
                      <a:r>
                        <a:rPr lang="el-GR" sz="700" b="0" u="none" strike="noStrike" kern="1200">
                          <a:solidFill>
                            <a:srgbClr val="000000"/>
                          </a:solidFill>
                          <a:effectLst/>
                          <a:latin typeface="+mn-lt"/>
                          <a:ea typeface="+mn-ea"/>
                          <a:cs typeface="+mn-cs"/>
                        </a:rPr>
                        <a:t>ΜΟΝΟΠΡΟΣΩΠΗ Ι.Κ.Ε.</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5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2902139102"/>
                  </a:ext>
                </a:extLst>
              </a:tr>
              <a:tr h="103915">
                <a:tc>
                  <a:txBody>
                    <a:bodyPr/>
                    <a:lstStyle/>
                    <a:p>
                      <a:pPr algn="l" fontAlgn="b"/>
                      <a:r>
                        <a:rPr lang="el-GR" sz="700" b="0" u="none" strike="noStrike" kern="1200">
                          <a:solidFill>
                            <a:srgbClr val="000000"/>
                          </a:solidFill>
                          <a:effectLst/>
                          <a:latin typeface="+mn-lt"/>
                          <a:ea typeface="+mn-ea"/>
                          <a:cs typeface="+mn-cs"/>
                        </a:rPr>
                        <a:t>ΑΡΔΑΣΣΑ </a:t>
                      </a:r>
                      <a:r>
                        <a:rPr lang="en-US" sz="700" b="0" u="none" strike="noStrike" kern="1200">
                          <a:solidFill>
                            <a:srgbClr val="000000"/>
                          </a:solidFill>
                          <a:effectLst/>
                          <a:latin typeface="+mn-lt"/>
                          <a:ea typeface="+mn-ea"/>
                          <a:cs typeface="+mn-cs"/>
                        </a:rPr>
                        <a:t>ENERGY </a:t>
                      </a:r>
                      <a:r>
                        <a:rPr lang="el-GR" sz="700" b="0" u="none" strike="noStrike" kern="1200">
                          <a:solidFill>
                            <a:srgbClr val="000000"/>
                          </a:solidFill>
                          <a:effectLst/>
                          <a:latin typeface="+mn-lt"/>
                          <a:ea typeface="+mn-ea"/>
                          <a:cs typeface="+mn-cs"/>
                        </a:rPr>
                        <a:t>Ι.Κ.Ε. </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18</a:t>
                      </a:r>
                    </a:p>
                  </a:txBody>
                  <a:tcPr marL="4071" marR="4071" marT="4071" marB="0" anchor="ctr"/>
                </a:tc>
                <a:extLst>
                  <a:ext uri="{0D108BD9-81ED-4DB2-BD59-A6C34878D82A}">
                    <a16:rowId xmlns:a16="http://schemas.microsoft.com/office/drawing/2014/main" val="1782209856"/>
                  </a:ext>
                </a:extLst>
              </a:tr>
              <a:tr h="103915">
                <a:tc>
                  <a:txBody>
                    <a:bodyPr/>
                    <a:lstStyle/>
                    <a:p>
                      <a:pPr algn="l" fontAlgn="b"/>
                      <a:r>
                        <a:rPr lang="en-US" sz="700" b="0" u="none" strike="noStrike" kern="1200">
                          <a:solidFill>
                            <a:srgbClr val="000000"/>
                          </a:solidFill>
                          <a:effectLst/>
                          <a:latin typeface="+mn-lt"/>
                          <a:ea typeface="+mn-ea"/>
                          <a:cs typeface="+mn-cs"/>
                        </a:rPr>
                        <a:t>AMBER-ENERGY </a:t>
                      </a:r>
                      <a:r>
                        <a:rPr lang="el-GR" sz="700" b="0" u="none" strike="noStrike" kern="1200">
                          <a:solidFill>
                            <a:srgbClr val="000000"/>
                          </a:solidFill>
                          <a:effectLst/>
                          <a:latin typeface="+mn-lt"/>
                          <a:ea typeface="+mn-ea"/>
                          <a:cs typeface="+mn-cs"/>
                        </a:rPr>
                        <a:t>ΜΟΝΟΠΡΟΣΩΠΗ ΙΚΕ</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5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4154730455"/>
                  </a:ext>
                </a:extLst>
              </a:tr>
              <a:tr h="103915">
                <a:tc>
                  <a:txBody>
                    <a:bodyPr/>
                    <a:lstStyle/>
                    <a:p>
                      <a:pPr algn="l" fontAlgn="b"/>
                      <a:r>
                        <a:rPr lang="en-US" sz="700" b="0" u="none" strike="noStrike" kern="1200">
                          <a:solidFill>
                            <a:srgbClr val="000000"/>
                          </a:solidFill>
                          <a:effectLst/>
                          <a:latin typeface="+mn-lt"/>
                          <a:ea typeface="+mn-ea"/>
                          <a:cs typeface="+mn-cs"/>
                        </a:rPr>
                        <a:t>SMART ENERGY SOLUTIONS </a:t>
                      </a:r>
                      <a:r>
                        <a:rPr lang="el-GR" sz="700" b="0" u="none" strike="noStrike" kern="1200">
                          <a:solidFill>
                            <a:srgbClr val="000000"/>
                          </a:solidFill>
                          <a:effectLst/>
                          <a:latin typeface="+mn-lt"/>
                          <a:ea typeface="+mn-ea"/>
                          <a:cs typeface="+mn-cs"/>
                        </a:rPr>
                        <a:t>Μ.Ι.Κ.Ε.</a:t>
                      </a:r>
                      <a:endParaRPr lang="en-US" sz="700" b="0" u="none" strike="noStrike" kern="1200">
                        <a:solidFill>
                          <a:srgbClr val="000000"/>
                        </a:solidFill>
                        <a:effectLst/>
                        <a:latin typeface="+mn-lt"/>
                        <a:ea typeface="+mn-ea"/>
                        <a:cs typeface="+mn-cs"/>
                      </a:endParaRPr>
                    </a:p>
                  </a:txBody>
                  <a:tcPr marL="4071" marR="4071" marT="4071" marB="0" anchor="ctr"/>
                </a:tc>
                <a:tc>
                  <a:txBody>
                    <a:bodyPr/>
                    <a:lstStyle/>
                    <a:p>
                      <a:pPr algn="ctr" fontAlgn="b"/>
                      <a:r>
                        <a:rPr lang="el-GR" sz="700" b="0" u="none" strike="noStrike" kern="1200">
                          <a:solidFill>
                            <a:srgbClr val="000000"/>
                          </a:solidFill>
                          <a:effectLst/>
                          <a:latin typeface="+mn-lt"/>
                          <a:ea typeface="+mn-ea"/>
                          <a:cs typeface="+mn-cs"/>
                        </a:rPr>
                        <a:t>50</a:t>
                      </a:r>
                      <a:endParaRPr lang="en-US" sz="700" b="0" u="none" strike="noStrike" kern="1200">
                        <a:solidFill>
                          <a:srgbClr val="000000"/>
                        </a:solidFill>
                        <a:effectLst/>
                        <a:latin typeface="+mn-lt"/>
                        <a:ea typeface="+mn-ea"/>
                        <a:cs typeface="+mn-cs"/>
                      </a:endParaRPr>
                    </a:p>
                  </a:txBody>
                  <a:tcPr marL="4071" marR="4071" marT="4071" marB="0" anchor="ctr"/>
                </a:tc>
                <a:extLst>
                  <a:ext uri="{0D108BD9-81ED-4DB2-BD59-A6C34878D82A}">
                    <a16:rowId xmlns:a16="http://schemas.microsoft.com/office/drawing/2014/main" val="3386858792"/>
                  </a:ext>
                </a:extLst>
              </a:tr>
            </a:tbl>
          </a:graphicData>
        </a:graphic>
      </p:graphicFrame>
      <p:sp>
        <p:nvSpPr>
          <p:cNvPr id="7" name="TextBox 6">
            <a:extLst>
              <a:ext uri="{FF2B5EF4-FFF2-40B4-BE49-F238E27FC236}">
                <a16:creationId xmlns:a16="http://schemas.microsoft.com/office/drawing/2014/main" id="{4B2D7108-96A8-2701-F45D-2FBCC7EDCE3D}"/>
              </a:ext>
            </a:extLst>
          </p:cNvPr>
          <p:cNvSpPr txBox="1"/>
          <p:nvPr/>
        </p:nvSpPr>
        <p:spPr>
          <a:xfrm>
            <a:off x="6703812" y="873229"/>
            <a:ext cx="2606524" cy="246221"/>
          </a:xfrm>
          <a:prstGeom prst="rect">
            <a:avLst/>
          </a:prstGeom>
          <a:noFill/>
        </p:spPr>
        <p:txBody>
          <a:bodyPr wrap="square">
            <a:spAutoFit/>
          </a:bodyPr>
          <a:lstStyle/>
          <a:p>
            <a:r>
              <a:rPr lang="el-GR" sz="1000">
                <a:solidFill>
                  <a:schemeClr val="accent2"/>
                </a:solidFill>
                <a:latin typeface="+mj-lt"/>
              </a:rPr>
              <a:t>1</a:t>
            </a:r>
            <a:r>
              <a:rPr lang="el-GR" sz="1000" baseline="30000">
                <a:solidFill>
                  <a:schemeClr val="accent2"/>
                </a:solidFill>
                <a:latin typeface="+mj-lt"/>
              </a:rPr>
              <a:t>η</a:t>
            </a:r>
            <a:r>
              <a:rPr lang="el-GR" sz="1000">
                <a:solidFill>
                  <a:schemeClr val="accent2"/>
                </a:solidFill>
                <a:latin typeface="+mj-lt"/>
              </a:rPr>
              <a:t> Ανταγωνιστική Διαδικασία Επιτυχόντες</a:t>
            </a:r>
            <a:endParaRPr lang="en-US" sz="1000">
              <a:solidFill>
                <a:schemeClr val="accent2"/>
              </a:solidFill>
              <a:latin typeface="+mj-lt"/>
            </a:endParaRPr>
          </a:p>
        </p:txBody>
      </p:sp>
      <p:sp>
        <p:nvSpPr>
          <p:cNvPr id="8" name="TextBox 7">
            <a:extLst>
              <a:ext uri="{FF2B5EF4-FFF2-40B4-BE49-F238E27FC236}">
                <a16:creationId xmlns:a16="http://schemas.microsoft.com/office/drawing/2014/main" id="{D169600E-24CB-F5D1-C9F7-1E0D7BCB1318}"/>
              </a:ext>
            </a:extLst>
          </p:cNvPr>
          <p:cNvSpPr txBox="1"/>
          <p:nvPr/>
        </p:nvSpPr>
        <p:spPr>
          <a:xfrm>
            <a:off x="9253467" y="871600"/>
            <a:ext cx="2606524" cy="246221"/>
          </a:xfrm>
          <a:prstGeom prst="rect">
            <a:avLst/>
          </a:prstGeom>
          <a:noFill/>
        </p:spPr>
        <p:txBody>
          <a:bodyPr wrap="square">
            <a:spAutoFit/>
          </a:bodyPr>
          <a:lstStyle/>
          <a:p>
            <a:r>
              <a:rPr lang="el-GR" sz="1000">
                <a:solidFill>
                  <a:schemeClr val="accent2"/>
                </a:solidFill>
                <a:latin typeface="+mj-lt"/>
              </a:rPr>
              <a:t>2</a:t>
            </a:r>
            <a:r>
              <a:rPr lang="el-GR" sz="1000" baseline="30000">
                <a:solidFill>
                  <a:schemeClr val="accent2"/>
                </a:solidFill>
                <a:latin typeface="+mj-lt"/>
              </a:rPr>
              <a:t>η</a:t>
            </a:r>
            <a:r>
              <a:rPr lang="el-GR" sz="1000">
                <a:solidFill>
                  <a:schemeClr val="accent2"/>
                </a:solidFill>
                <a:latin typeface="+mj-lt"/>
              </a:rPr>
              <a:t> Ανταγωνιστική Διαδικασία Επιτυχόντες</a:t>
            </a:r>
            <a:endParaRPr lang="en-US" sz="1000">
              <a:solidFill>
                <a:schemeClr val="accent2"/>
              </a:solidFill>
              <a:latin typeface="+mj-lt"/>
            </a:endParaRPr>
          </a:p>
        </p:txBody>
      </p:sp>
      <p:sp>
        <p:nvSpPr>
          <p:cNvPr id="20" name="TextBox 19">
            <a:extLst>
              <a:ext uri="{FF2B5EF4-FFF2-40B4-BE49-F238E27FC236}">
                <a16:creationId xmlns:a16="http://schemas.microsoft.com/office/drawing/2014/main" id="{0978628D-BB48-9886-6FB2-F2D1EC1CF1E9}"/>
              </a:ext>
            </a:extLst>
          </p:cNvPr>
          <p:cNvSpPr txBox="1"/>
          <p:nvPr/>
        </p:nvSpPr>
        <p:spPr>
          <a:xfrm>
            <a:off x="7544375" y="3354788"/>
            <a:ext cx="2606524" cy="246221"/>
          </a:xfrm>
          <a:prstGeom prst="rect">
            <a:avLst/>
          </a:prstGeom>
          <a:noFill/>
        </p:spPr>
        <p:txBody>
          <a:bodyPr wrap="square">
            <a:spAutoFit/>
          </a:bodyPr>
          <a:lstStyle/>
          <a:p>
            <a:r>
              <a:rPr lang="el-GR" sz="1000">
                <a:solidFill>
                  <a:schemeClr val="accent2"/>
                </a:solidFill>
                <a:latin typeface="+mj-lt"/>
              </a:rPr>
              <a:t>3</a:t>
            </a:r>
            <a:r>
              <a:rPr lang="el-GR" sz="1000" baseline="30000">
                <a:solidFill>
                  <a:schemeClr val="accent2"/>
                </a:solidFill>
                <a:latin typeface="+mj-lt"/>
              </a:rPr>
              <a:t>η</a:t>
            </a:r>
            <a:r>
              <a:rPr lang="el-GR" sz="1000">
                <a:solidFill>
                  <a:schemeClr val="accent2"/>
                </a:solidFill>
                <a:latin typeface="+mj-lt"/>
              </a:rPr>
              <a:t> Ανταγωνιστική Διαδικασία Επιτυχόντες</a:t>
            </a:r>
            <a:endParaRPr lang="en-US" sz="1000">
              <a:solidFill>
                <a:schemeClr val="accent2"/>
              </a:solidFill>
              <a:latin typeface="+mj-lt"/>
            </a:endParaRPr>
          </a:p>
        </p:txBody>
      </p:sp>
      <p:sp>
        <p:nvSpPr>
          <p:cNvPr id="22" name="TextBox 21">
            <a:extLst>
              <a:ext uri="{FF2B5EF4-FFF2-40B4-BE49-F238E27FC236}">
                <a16:creationId xmlns:a16="http://schemas.microsoft.com/office/drawing/2014/main" id="{B2351AAD-93D6-B7DB-D2F7-6EB443964FE1}"/>
              </a:ext>
            </a:extLst>
          </p:cNvPr>
          <p:cNvSpPr txBox="1"/>
          <p:nvPr/>
        </p:nvSpPr>
        <p:spPr>
          <a:xfrm>
            <a:off x="517724" y="5844188"/>
            <a:ext cx="4552671" cy="461665"/>
          </a:xfrm>
          <a:prstGeom prst="rect">
            <a:avLst/>
          </a:prstGeom>
          <a:solidFill>
            <a:schemeClr val="accent2">
              <a:lumMod val="75000"/>
            </a:schemeClr>
          </a:solidFill>
        </p:spPr>
        <p:txBody>
          <a:bodyPr wrap="square">
            <a:spAutoFit/>
          </a:bodyPr>
          <a:lstStyle/>
          <a:p>
            <a:r>
              <a:rPr lang="el-GR" sz="1200">
                <a:solidFill>
                  <a:schemeClr val="bg1"/>
                </a:solidFill>
                <a:latin typeface="+mj-lt"/>
              </a:rPr>
              <a:t>Διαγωνισμός </a:t>
            </a:r>
            <a:r>
              <a:rPr lang="en-US" sz="1200">
                <a:solidFill>
                  <a:schemeClr val="bg1"/>
                </a:solidFill>
                <a:latin typeface="+mj-lt"/>
              </a:rPr>
              <a:t>standalone </a:t>
            </a:r>
            <a:r>
              <a:rPr lang="el-GR" sz="1200">
                <a:solidFill>
                  <a:schemeClr val="bg1"/>
                </a:solidFill>
                <a:latin typeface="+mj-lt"/>
              </a:rPr>
              <a:t>για προτεραιότητα όρων σύνδεσης, Ιούνιος 2025 ≈ 4,3 </a:t>
            </a:r>
            <a:r>
              <a:rPr lang="en-US" sz="1200">
                <a:solidFill>
                  <a:schemeClr val="bg1"/>
                </a:solidFill>
                <a:latin typeface="+mj-lt"/>
              </a:rPr>
              <a:t>GW</a:t>
            </a:r>
          </a:p>
        </p:txBody>
      </p:sp>
      <p:pic>
        <p:nvPicPr>
          <p:cNvPr id="24" name="Graphic 23" descr="Badge Follow with solid fill">
            <a:extLst>
              <a:ext uri="{FF2B5EF4-FFF2-40B4-BE49-F238E27FC236}">
                <a16:creationId xmlns:a16="http://schemas.microsoft.com/office/drawing/2014/main" id="{B134D557-6FCA-4848-1B1A-944A0DC4A2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6117594"/>
            <a:ext cx="532588" cy="532588"/>
          </a:xfrm>
          <a:prstGeom prst="rect">
            <a:avLst/>
          </a:prstGeom>
        </p:spPr>
      </p:pic>
      <p:sp>
        <p:nvSpPr>
          <p:cNvPr id="25" name="TextBox 24">
            <a:extLst>
              <a:ext uri="{FF2B5EF4-FFF2-40B4-BE49-F238E27FC236}">
                <a16:creationId xmlns:a16="http://schemas.microsoft.com/office/drawing/2014/main" id="{AA61A546-9C95-3F32-B52C-563E7B49394D}"/>
              </a:ext>
            </a:extLst>
          </p:cNvPr>
          <p:cNvSpPr txBox="1"/>
          <p:nvPr/>
        </p:nvSpPr>
        <p:spPr>
          <a:xfrm>
            <a:off x="517723" y="6341931"/>
            <a:ext cx="6460078" cy="461665"/>
          </a:xfrm>
          <a:prstGeom prst="rect">
            <a:avLst/>
          </a:prstGeom>
          <a:solidFill>
            <a:schemeClr val="accent2">
              <a:lumMod val="75000"/>
            </a:schemeClr>
          </a:solidFill>
        </p:spPr>
        <p:txBody>
          <a:bodyPr wrap="square">
            <a:spAutoFit/>
          </a:bodyPr>
          <a:lstStyle/>
          <a:p>
            <a:r>
              <a:rPr lang="en-US" sz="1200">
                <a:solidFill>
                  <a:schemeClr val="bg1"/>
                </a:solidFill>
                <a:latin typeface="+mj-lt"/>
              </a:rPr>
              <a:t>N</a:t>
            </a:r>
            <a:r>
              <a:rPr lang="el-GR" sz="1200">
                <a:solidFill>
                  <a:schemeClr val="bg1"/>
                </a:solidFill>
                <a:latin typeface="+mj-lt"/>
              </a:rPr>
              <a:t>έα πρόσκληση για εγκατάσταση αυτόνομων μπαταριών συνολικής ισχύος περί τα 2 GW, χωρίς κανενός είδους οικονομική ενίσχυση. </a:t>
            </a:r>
            <a:r>
              <a:rPr lang="el-GR" sz="1100">
                <a:solidFill>
                  <a:schemeClr val="bg1"/>
                </a:solidFill>
                <a:latin typeface="+mj-lt"/>
              </a:rPr>
              <a:t>(εκκρεμεί ΥΑ)</a:t>
            </a:r>
            <a:endParaRPr lang="en-US" sz="1200">
              <a:solidFill>
                <a:schemeClr val="bg1"/>
              </a:solidFill>
              <a:latin typeface="+mj-lt"/>
            </a:endParaRPr>
          </a:p>
        </p:txBody>
      </p:sp>
      <p:sp>
        <p:nvSpPr>
          <p:cNvPr id="23" name="TextBox 22">
            <a:extLst>
              <a:ext uri="{FF2B5EF4-FFF2-40B4-BE49-F238E27FC236}">
                <a16:creationId xmlns:a16="http://schemas.microsoft.com/office/drawing/2014/main" id="{6A8B57FE-7A2C-BB2C-3DF3-6EDF67B9C711}"/>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ΡΑΑΕΥ</a:t>
            </a:r>
            <a:endParaRPr lang="en-US" sz="1200"/>
          </a:p>
        </p:txBody>
      </p:sp>
    </p:spTree>
    <p:extLst>
      <p:ext uri="{BB962C8B-B14F-4D97-AF65-F5344CB8AC3E}">
        <p14:creationId xmlns:p14="http://schemas.microsoft.com/office/powerpoint/2010/main" val="2638987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D881EB-49DF-8A76-DAA4-D7684FBDF3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1AB4DC4-417D-5056-8056-852B2999A67A}"/>
              </a:ext>
            </a:extLst>
          </p:cNvPr>
          <p:cNvSpPr>
            <a:spLocks noGrp="1"/>
          </p:cNvSpPr>
          <p:nvPr>
            <p:ph type="title"/>
          </p:nvPr>
        </p:nvSpPr>
        <p:spPr>
          <a:xfrm>
            <a:off x="443372" y="379660"/>
            <a:ext cx="11305716" cy="492443"/>
          </a:xfrm>
        </p:spPr>
        <p:txBody>
          <a:bodyPr/>
          <a:lstStyle/>
          <a:p>
            <a:r>
              <a:rPr lang="el-GR">
                <a:solidFill>
                  <a:srgbClr val="0F55F5"/>
                </a:solidFill>
              </a:rPr>
              <a:t>Ανταγωνιστικές Διαδικασίες Αποθήκευσης</a:t>
            </a:r>
            <a:endParaRPr lang="en-US">
              <a:solidFill>
                <a:srgbClr val="0F55F5"/>
              </a:solidFill>
            </a:endParaRPr>
          </a:p>
        </p:txBody>
      </p:sp>
      <p:pic>
        <p:nvPicPr>
          <p:cNvPr id="2" name="Picture 1">
            <a:extLst>
              <a:ext uri="{FF2B5EF4-FFF2-40B4-BE49-F238E27FC236}">
                <a16:creationId xmlns:a16="http://schemas.microsoft.com/office/drawing/2014/main" id="{D66EEB92-3E51-3F97-32D5-654C25A34538}"/>
              </a:ext>
            </a:extLst>
          </p:cNvPr>
          <p:cNvPicPr>
            <a:picLocks noChangeAspect="1"/>
          </p:cNvPicPr>
          <p:nvPr/>
        </p:nvPicPr>
        <p:blipFill>
          <a:blip r:embed="rId3"/>
          <a:stretch>
            <a:fillRect/>
          </a:stretch>
        </p:blipFill>
        <p:spPr>
          <a:xfrm>
            <a:off x="151810" y="1205097"/>
            <a:ext cx="5766014" cy="2477521"/>
          </a:xfrm>
          <a:prstGeom prst="rect">
            <a:avLst/>
          </a:prstGeom>
        </p:spPr>
      </p:pic>
      <p:pic>
        <p:nvPicPr>
          <p:cNvPr id="3" name="Picture 2">
            <a:extLst>
              <a:ext uri="{FF2B5EF4-FFF2-40B4-BE49-F238E27FC236}">
                <a16:creationId xmlns:a16="http://schemas.microsoft.com/office/drawing/2014/main" id="{CE3A6EC0-94B0-304A-03F3-CB552A54B279}"/>
              </a:ext>
            </a:extLst>
          </p:cNvPr>
          <p:cNvPicPr>
            <a:picLocks noChangeAspect="1"/>
          </p:cNvPicPr>
          <p:nvPr/>
        </p:nvPicPr>
        <p:blipFill>
          <a:blip r:embed="rId4"/>
          <a:stretch>
            <a:fillRect/>
          </a:stretch>
        </p:blipFill>
        <p:spPr>
          <a:xfrm>
            <a:off x="151811" y="3614496"/>
            <a:ext cx="5766015" cy="2450659"/>
          </a:xfrm>
          <a:prstGeom prst="rect">
            <a:avLst/>
          </a:prstGeom>
        </p:spPr>
      </p:pic>
      <p:pic>
        <p:nvPicPr>
          <p:cNvPr id="5" name="Picture 4">
            <a:extLst>
              <a:ext uri="{FF2B5EF4-FFF2-40B4-BE49-F238E27FC236}">
                <a16:creationId xmlns:a16="http://schemas.microsoft.com/office/drawing/2014/main" id="{02AA242E-F1D5-B459-8F28-0112EC82CE8D}"/>
              </a:ext>
            </a:extLst>
          </p:cNvPr>
          <p:cNvPicPr>
            <a:picLocks noChangeAspect="1"/>
          </p:cNvPicPr>
          <p:nvPr/>
        </p:nvPicPr>
        <p:blipFill>
          <a:blip r:embed="rId5"/>
          <a:stretch>
            <a:fillRect/>
          </a:stretch>
        </p:blipFill>
        <p:spPr>
          <a:xfrm>
            <a:off x="6274176" y="1156846"/>
            <a:ext cx="3535027" cy="2479579"/>
          </a:xfrm>
          <a:prstGeom prst="rect">
            <a:avLst/>
          </a:prstGeom>
        </p:spPr>
      </p:pic>
      <p:pic>
        <p:nvPicPr>
          <p:cNvPr id="7" name="Picture 6">
            <a:extLst>
              <a:ext uri="{FF2B5EF4-FFF2-40B4-BE49-F238E27FC236}">
                <a16:creationId xmlns:a16="http://schemas.microsoft.com/office/drawing/2014/main" id="{2740F84E-05A8-ED4D-D768-726D6225EDD6}"/>
              </a:ext>
            </a:extLst>
          </p:cNvPr>
          <p:cNvPicPr>
            <a:picLocks noChangeAspect="1"/>
          </p:cNvPicPr>
          <p:nvPr/>
        </p:nvPicPr>
        <p:blipFill>
          <a:blip r:embed="rId6"/>
          <a:stretch>
            <a:fillRect/>
          </a:stretch>
        </p:blipFill>
        <p:spPr>
          <a:xfrm>
            <a:off x="6274175" y="3636425"/>
            <a:ext cx="3535028" cy="2469363"/>
          </a:xfrm>
          <a:prstGeom prst="rect">
            <a:avLst/>
          </a:prstGeom>
        </p:spPr>
      </p:pic>
      <p:sp>
        <p:nvSpPr>
          <p:cNvPr id="8" name="TextBox 7">
            <a:extLst>
              <a:ext uri="{FF2B5EF4-FFF2-40B4-BE49-F238E27FC236}">
                <a16:creationId xmlns:a16="http://schemas.microsoft.com/office/drawing/2014/main" id="{B9DEA1F5-FF0A-913D-0A8F-D095714E3709}"/>
              </a:ext>
            </a:extLst>
          </p:cNvPr>
          <p:cNvSpPr txBox="1"/>
          <p:nvPr/>
        </p:nvSpPr>
        <p:spPr>
          <a:xfrm>
            <a:off x="10103168" y="2844224"/>
            <a:ext cx="1890358" cy="2031325"/>
          </a:xfrm>
          <a:prstGeom prst="rect">
            <a:avLst/>
          </a:prstGeom>
          <a:solidFill>
            <a:schemeClr val="accent3">
              <a:lumMod val="20000"/>
              <a:lumOff val="80000"/>
            </a:schemeClr>
          </a:solidFill>
          <a:ln w="28575">
            <a:solidFill>
              <a:schemeClr val="bg1"/>
            </a:solidFill>
          </a:ln>
        </p:spPr>
        <p:txBody>
          <a:bodyPr wrap="square" rtlCol="0">
            <a:spAutoFit/>
          </a:bodyPr>
          <a:lstStyle>
            <a:defPPr marR="0" lvl="0" algn="l" rtl="0">
              <a:lnSpc>
                <a:spcPct val="100000"/>
              </a:lnSpc>
              <a:spcBef>
                <a:spcPts val="0"/>
              </a:spcBef>
              <a:spcAft>
                <a:spcPts val="0"/>
              </a:spcAft>
              <a:defRPr/>
            </a:defPPr>
            <a:lvl1pPr>
              <a:defRPr sz="1050" b="1" i="1">
                <a:solidFill>
                  <a:srgbClr val="474747"/>
                </a:solidFill>
                <a:latin typeface="BBG CJK"/>
              </a:defRPr>
            </a:lvl1pPr>
            <a:lvl2pPr marL="285750" indent="-285750">
              <a:buFont typeface="Arial" panose="020B0604020202020204" pitchFamily="34" charset="0"/>
              <a:buChar char="•"/>
              <a:defRPr sz="1050"/>
            </a:lvl2pPr>
          </a:lstStyle>
          <a:p>
            <a:pPr algn="just"/>
            <a:r>
              <a:rPr lang="el-GR" sz="1400" i="0"/>
              <a:t>Το CAPEX μειώθηκε κατά 25% μεταξύ των δύο ανταγωνιστικών διαδικασιών, επομένως δεν έχει σημασία αν η επιδότηση μειώθηκε από 200k€/MW σε 100k€/MW.</a:t>
            </a:r>
            <a:endParaRPr lang="en-US" sz="1400" b="0" i="0"/>
          </a:p>
        </p:txBody>
      </p:sp>
      <p:sp>
        <p:nvSpPr>
          <p:cNvPr id="9" name="TextBox 8">
            <a:extLst>
              <a:ext uri="{FF2B5EF4-FFF2-40B4-BE49-F238E27FC236}">
                <a16:creationId xmlns:a16="http://schemas.microsoft.com/office/drawing/2014/main" id="{8AC7F65F-F77A-CD61-22B6-68D89426E894}"/>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8515658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525B46-42E0-4197-9954-DA3C6AD4D97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5525B46-42E0-4197-9954-DA3C6AD4D97F}"/>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E44E49-70F9-33EF-77D7-96A2B8A03A31}"/>
              </a:ext>
            </a:extLst>
          </p:cNvPr>
          <p:cNvSpPr>
            <a:spLocks noGrp="1"/>
          </p:cNvSpPr>
          <p:nvPr>
            <p:ph type="title"/>
          </p:nvPr>
        </p:nvSpPr>
        <p:spPr>
          <a:xfrm>
            <a:off x="1093452" y="2668431"/>
            <a:ext cx="6082667" cy="646331"/>
          </a:xfrm>
        </p:spPr>
        <p:txBody>
          <a:bodyPr vert="horz"/>
          <a:lstStyle/>
          <a:p>
            <a:r>
              <a:rPr lang="en-US"/>
              <a:t>Empowering Tomorrow</a:t>
            </a:r>
          </a:p>
        </p:txBody>
      </p:sp>
      <p:sp>
        <p:nvSpPr>
          <p:cNvPr id="3" name="Text Placeholder 2">
            <a:extLst>
              <a:ext uri="{FF2B5EF4-FFF2-40B4-BE49-F238E27FC236}">
                <a16:creationId xmlns:a16="http://schemas.microsoft.com/office/drawing/2014/main" id="{2B630681-3B49-D76F-2BE2-0D9360559925}"/>
              </a:ext>
            </a:extLst>
          </p:cNvPr>
          <p:cNvSpPr>
            <a:spLocks noGrp="1"/>
          </p:cNvSpPr>
          <p:nvPr>
            <p:ph type="body" sz="quarter" idx="10"/>
          </p:nvPr>
        </p:nvSpPr>
        <p:spPr>
          <a:xfrm>
            <a:off x="1093452" y="4689796"/>
            <a:ext cx="5616000" cy="246221"/>
          </a:xfrm>
        </p:spPr>
        <p:txBody>
          <a:bodyPr/>
          <a:lstStyle/>
          <a:p>
            <a:r>
              <a:rPr lang="en-US"/>
              <a:t>June 2025</a:t>
            </a:r>
          </a:p>
        </p:txBody>
      </p:sp>
      <p:pic>
        <p:nvPicPr>
          <p:cNvPr id="8" name="Picture Placeholder 7">
            <a:extLst>
              <a:ext uri="{FF2B5EF4-FFF2-40B4-BE49-F238E27FC236}">
                <a16:creationId xmlns:a16="http://schemas.microsoft.com/office/drawing/2014/main" id="{6973D38B-5CDA-4EFD-8BD0-8AC2021C3457}"/>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t="10959" b="10959"/>
          <a:stretch>
            <a:fillRect/>
          </a:stretch>
        </p:blipFill>
        <p:spPr/>
      </p:pic>
      <p:pic>
        <p:nvPicPr>
          <p:cNvPr id="4" name="Graphic 3">
            <a:extLst>
              <a:ext uri="{FF2B5EF4-FFF2-40B4-BE49-F238E27FC236}">
                <a16:creationId xmlns:a16="http://schemas.microsoft.com/office/drawing/2014/main" id="{C653B33A-2033-5A54-1190-778C0621315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443372" y="478768"/>
            <a:ext cx="2376000" cy="682929"/>
          </a:xfrm>
          <a:prstGeom prst="rect">
            <a:avLst/>
          </a:prstGeom>
        </p:spPr>
      </p:pic>
    </p:spTree>
    <p:extLst>
      <p:ext uri="{BB962C8B-B14F-4D97-AF65-F5344CB8AC3E}">
        <p14:creationId xmlns:p14="http://schemas.microsoft.com/office/powerpoint/2010/main" val="38836076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48454-7820-A8F9-D8EC-66448507B294}"/>
            </a:ext>
          </a:extLst>
        </p:cNvPr>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EEAFAB4-79B3-53C8-1B4A-2933356DFD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9" name="Objekt 8" hidden="1">
                        <a:extLst>
                          <a:ext uri="{FF2B5EF4-FFF2-40B4-BE49-F238E27FC236}">
                            <a16:creationId xmlns:a16="http://schemas.microsoft.com/office/drawing/2014/main" id="{0EEAFAB4-79B3-53C8-1B4A-2933356DF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F1DC86D-FB58-B34F-D908-D85208A3EBB8}"/>
              </a:ext>
            </a:extLst>
          </p:cNvPr>
          <p:cNvSpPr/>
          <p:nvPr/>
        </p:nvSpPr>
        <p:spPr>
          <a:xfrm>
            <a:off x="195975" y="2023503"/>
            <a:ext cx="5616377" cy="3921186"/>
          </a:xfrm>
          <a:prstGeom prst="rect">
            <a:avLst/>
          </a:prstGeom>
          <a:solidFill>
            <a:schemeClr val="bg1"/>
          </a:solidFill>
          <a:ln w="222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rtl="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noFill/>
              <a:effectLst/>
              <a:uLnTx/>
              <a:uFillTx/>
              <a:latin typeface="The Wave Sans TT"/>
              <a:ea typeface="+mn-ea"/>
              <a:cs typeface="+mn-cs"/>
            </a:endParaRPr>
          </a:p>
        </p:txBody>
      </p:sp>
      <p:sp>
        <p:nvSpPr>
          <p:cNvPr id="66" name="Rectangle 65">
            <a:extLst>
              <a:ext uri="{FF2B5EF4-FFF2-40B4-BE49-F238E27FC236}">
                <a16:creationId xmlns:a16="http://schemas.microsoft.com/office/drawing/2014/main" id="{270479CD-3464-88E4-E0A5-D2137634AF89}"/>
              </a:ext>
            </a:extLst>
          </p:cNvPr>
          <p:cNvSpPr/>
          <p:nvPr/>
        </p:nvSpPr>
        <p:spPr>
          <a:xfrm>
            <a:off x="5940814" y="2017748"/>
            <a:ext cx="1954615" cy="3921186"/>
          </a:xfrm>
          <a:prstGeom prst="rect">
            <a:avLst/>
          </a:prstGeom>
          <a:solidFill>
            <a:schemeClr val="bg1"/>
          </a:solidFill>
          <a:ln w="222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rtl="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noFill/>
              <a:effectLst/>
              <a:uLnTx/>
              <a:uFillTx/>
              <a:latin typeface="The Wave Sans TT"/>
              <a:ea typeface="+mn-ea"/>
              <a:cs typeface="+mn-cs"/>
            </a:endParaRPr>
          </a:p>
        </p:txBody>
      </p:sp>
      <p:sp>
        <p:nvSpPr>
          <p:cNvPr id="57" name="Rectangle 56">
            <a:extLst>
              <a:ext uri="{FF2B5EF4-FFF2-40B4-BE49-F238E27FC236}">
                <a16:creationId xmlns:a16="http://schemas.microsoft.com/office/drawing/2014/main" id="{EECAA9D9-4C55-B4B1-4B00-063B0B9A8094}"/>
              </a:ext>
            </a:extLst>
          </p:cNvPr>
          <p:cNvSpPr/>
          <p:nvPr/>
        </p:nvSpPr>
        <p:spPr>
          <a:xfrm>
            <a:off x="8011057" y="2017748"/>
            <a:ext cx="3837883" cy="3921186"/>
          </a:xfrm>
          <a:prstGeom prst="rect">
            <a:avLst/>
          </a:prstGeom>
          <a:solidFill>
            <a:schemeClr val="bg1"/>
          </a:solidFill>
          <a:ln w="222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rtl="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noFill/>
              <a:effectLst/>
              <a:uLnTx/>
              <a:uFillTx/>
              <a:latin typeface="The Wave Sans TT"/>
              <a:ea typeface="+mn-ea"/>
              <a:cs typeface="+mn-cs"/>
            </a:endParaRPr>
          </a:p>
        </p:txBody>
      </p:sp>
      <p:sp>
        <p:nvSpPr>
          <p:cNvPr id="55" name="Rounded Rectangle 8">
            <a:extLst>
              <a:ext uri="{FF2B5EF4-FFF2-40B4-BE49-F238E27FC236}">
                <a16:creationId xmlns:a16="http://schemas.microsoft.com/office/drawing/2014/main" id="{BB59EF11-4AAB-1FAF-00B7-4B6321EEEF85}"/>
              </a:ext>
            </a:extLst>
          </p:cNvPr>
          <p:cNvSpPr/>
          <p:nvPr/>
        </p:nvSpPr>
        <p:spPr>
          <a:xfrm>
            <a:off x="317931" y="2372553"/>
            <a:ext cx="1739052" cy="2602600"/>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17</a:t>
            </a:r>
            <a:r>
              <a:rPr kumimoji="0" lang="el-GR" sz="1000" b="1" i="0" u="none" strike="noStrike" kern="0" cap="none" spc="0" normalizeH="0" baseline="0" noProof="0">
                <a:ln>
                  <a:noFill/>
                </a:ln>
                <a:solidFill>
                  <a:srgbClr val="0032A0"/>
                </a:solidFill>
                <a:effectLst/>
                <a:uLnTx/>
                <a:uFillTx/>
                <a:latin typeface="The Wave Sans TT"/>
                <a:ea typeface="+mn-ea"/>
                <a:cs typeface="+mn-cs"/>
              </a:rPr>
              <a:t>.4</a:t>
            </a:r>
            <a:r>
              <a:rPr kumimoji="0" lang="en-US" sz="1000" b="1" i="0" u="none" strike="noStrike" kern="0" cap="none" spc="0" normalizeH="0" baseline="0" noProof="0">
                <a:ln>
                  <a:noFill/>
                </a:ln>
                <a:solidFill>
                  <a:srgbClr val="0032A0"/>
                </a:solidFill>
                <a:effectLst/>
                <a:uLnTx/>
                <a:uFillTx/>
                <a:latin typeface="The Wave Sans TT"/>
                <a:ea typeface="+mn-ea"/>
                <a:cs typeface="+mn-cs"/>
              </a:rPr>
              <a:t>mtpa / 34</a:t>
            </a:r>
            <a:r>
              <a:rPr kumimoji="0" lang="el-GR" sz="1000" b="1" i="0" u="none" strike="noStrike" kern="0" cap="none" spc="0" normalizeH="0" baseline="0" noProof="0">
                <a:ln>
                  <a:noFill/>
                </a:ln>
                <a:solidFill>
                  <a:srgbClr val="0032A0"/>
                </a:solidFill>
                <a:effectLst/>
                <a:uLnTx/>
                <a:uFillTx/>
                <a:latin typeface="The Wave Sans TT"/>
                <a:ea typeface="+mn-ea"/>
                <a:cs typeface="+mn-cs"/>
              </a:rPr>
              <a:t>2</a:t>
            </a:r>
            <a:r>
              <a:rPr kumimoji="0" lang="en-US" sz="1000" b="1" i="0" u="none" strike="noStrike" kern="0" cap="none" spc="0" normalizeH="0" baseline="0" noProof="0">
                <a:ln>
                  <a:noFill/>
                </a:ln>
                <a:solidFill>
                  <a:srgbClr val="0032A0"/>
                </a:solidFill>
                <a:effectLst/>
                <a:uLnTx/>
                <a:uFillTx/>
                <a:latin typeface="The Wave Sans TT"/>
                <a:ea typeface="+mn-ea"/>
                <a:cs typeface="+mn-cs"/>
              </a:rPr>
              <a:t>kbpd </a:t>
            </a:r>
            <a:r>
              <a:rPr kumimoji="0" lang="en-US" sz="1000" b="0" i="0" u="none" strike="noStrike" kern="0" cap="none" spc="0" normalizeH="0" baseline="0" noProof="0">
                <a:ln>
                  <a:noFill/>
                </a:ln>
                <a:solidFill>
                  <a:srgbClr val="373737"/>
                </a:solidFill>
                <a:effectLst/>
                <a:uLnTx/>
                <a:uFillTx/>
                <a:latin typeface="The Wave Sans TT"/>
                <a:ea typeface="+mn-ea"/>
                <a:cs typeface="+mn-cs"/>
              </a:rPr>
              <a:t>refining capacity (GR) through 3 coastal refineries</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c.7m M³ </a:t>
            </a:r>
            <a:r>
              <a:rPr kumimoji="0" lang="en-US" sz="1000" b="0" i="0" u="none" strike="noStrike" kern="0" cap="none" spc="0" normalizeH="0" baseline="0" noProof="0">
                <a:ln>
                  <a:noFill/>
                </a:ln>
                <a:solidFill>
                  <a:srgbClr val="373737"/>
                </a:solidFill>
                <a:effectLst/>
                <a:uLnTx/>
                <a:uFillTx/>
                <a:latin typeface="The Wave Sans TT"/>
                <a:ea typeface="+mn-ea"/>
                <a:cs typeface="+mn-cs"/>
              </a:rPr>
              <a:t>crude/product tank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gt;60%</a:t>
            </a:r>
            <a:r>
              <a:rPr kumimoji="0" lang="en-US" sz="1000" b="0" i="0" u="none" strike="noStrike" kern="0" cap="none" spc="0" normalizeH="0" baseline="0" noProof="0">
                <a:ln>
                  <a:noFill/>
                </a:ln>
                <a:solidFill>
                  <a:srgbClr val="373737"/>
                </a:solidFill>
                <a:effectLst/>
                <a:uLnTx/>
                <a:uFillTx/>
                <a:latin typeface="The Wave Sans TT"/>
                <a:ea typeface="+mn-ea"/>
                <a:cs typeface="+mn-cs"/>
              </a:rPr>
              <a:t> of domestic market sh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54% </a:t>
            </a:r>
            <a:r>
              <a:rPr kumimoji="0" lang="en-US" sz="1000" b="0" i="0" u="none" strike="noStrike" kern="0" cap="none" spc="0" normalizeH="0" baseline="0" noProof="0">
                <a:ln>
                  <a:noFill/>
                </a:ln>
                <a:solidFill>
                  <a:srgbClr val="373737"/>
                </a:solidFill>
                <a:effectLst/>
                <a:uLnTx/>
                <a:uFillTx/>
                <a:latin typeface="The Wave Sans TT"/>
                <a:ea typeface="+mn-ea"/>
                <a:cs typeface="+mn-cs"/>
              </a:rPr>
              <a:t>expo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rgbClr val="0032A0"/>
                </a:solidFill>
                <a:latin typeface="The Wave Sans TT"/>
              </a:rPr>
              <a:t>~3</a:t>
            </a:r>
            <a:r>
              <a:rPr kumimoji="0" lang="en-US" sz="1000" b="1" i="0" u="none" strike="noStrike" kern="0" cap="none" spc="0" normalizeH="0" baseline="0" noProof="0">
                <a:ln>
                  <a:noFill/>
                </a:ln>
                <a:solidFill>
                  <a:srgbClr val="0032A0"/>
                </a:solidFill>
                <a:effectLst/>
                <a:uLnTx/>
                <a:uFillTx/>
                <a:latin typeface="The Wave Sans TT"/>
                <a:ea typeface="+mn-ea"/>
                <a:cs typeface="+mn-cs"/>
              </a:rPr>
              <a:t>5% </a:t>
            </a:r>
            <a:r>
              <a:rPr kumimoji="0" lang="en-US" sz="1000" b="0" i="0" u="none" strike="noStrike" kern="0" cap="none" spc="0" normalizeH="0" baseline="0" noProof="0">
                <a:ln>
                  <a:noFill/>
                </a:ln>
                <a:solidFill>
                  <a:srgbClr val="373737"/>
                </a:solidFill>
                <a:effectLst/>
                <a:uLnTx/>
                <a:uFillTx/>
                <a:latin typeface="The Wave Sans TT"/>
                <a:ea typeface="+mn-ea"/>
                <a:cs typeface="+mn-cs"/>
              </a:rPr>
              <a:t>sold through own Marketing 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p:txBody>
      </p:sp>
      <p:sp>
        <p:nvSpPr>
          <p:cNvPr id="56" name="Rectangle: Rounded Corners 55">
            <a:extLst>
              <a:ext uri="{FF2B5EF4-FFF2-40B4-BE49-F238E27FC236}">
                <a16:creationId xmlns:a16="http://schemas.microsoft.com/office/drawing/2014/main" id="{3AD0C8C0-15FC-91BB-4D65-57B31DA2C1FF}"/>
              </a:ext>
            </a:extLst>
          </p:cNvPr>
          <p:cNvSpPr/>
          <p:nvPr/>
        </p:nvSpPr>
        <p:spPr>
          <a:xfrm>
            <a:off x="61165" y="1993437"/>
            <a:ext cx="2297313" cy="340753"/>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0" cap="none" spc="0" normalizeH="0" baseline="0" noProof="0">
                <a:ln>
                  <a:noFill/>
                </a:ln>
                <a:solidFill>
                  <a:srgbClr val="0032A0"/>
                </a:solidFill>
                <a:effectLst/>
                <a:uLnTx/>
                <a:uFillTx/>
                <a:latin typeface="The Wave Sans TT"/>
                <a:ea typeface="+mn-ea"/>
                <a:cs typeface="+mn-cs"/>
              </a:rPr>
              <a:t>Refining, Supply &amp;Trading</a:t>
            </a:r>
          </a:p>
          <a:p>
            <a:pPr marL="0" marR="0" lvl="0" indent="0" algn="ctr" defTabSz="914400" rtl="0" eaLnBrk="1" fontAlgn="auto" latinLnBrk="0" hangingPunct="1">
              <a:lnSpc>
                <a:spcPct val="114000"/>
              </a:lnSpc>
              <a:spcBef>
                <a:spcPts val="0"/>
              </a:spcBef>
              <a:spcAft>
                <a:spcPts val="0"/>
              </a:spcAft>
              <a:buClrTx/>
              <a:buSzTx/>
              <a:buFontTx/>
              <a:buNone/>
              <a:tabLst/>
              <a:defRPr/>
            </a:pPr>
            <a:endParaRPr kumimoji="0" lang="en-US" sz="1050" b="0" i="0" u="none" strike="noStrike" kern="0" cap="none" spc="0" normalizeH="0" baseline="0" noProof="0">
              <a:ln>
                <a:noFill/>
              </a:ln>
              <a:solidFill>
                <a:srgbClr val="7F7F7F"/>
              </a:solidFill>
              <a:effectLst/>
              <a:uLnTx/>
              <a:uFillTx/>
              <a:latin typeface="The Wave Sans TT"/>
              <a:ea typeface="+mn-ea"/>
              <a:cs typeface="+mn-cs"/>
            </a:endParaRPr>
          </a:p>
        </p:txBody>
      </p:sp>
      <p:sp>
        <p:nvSpPr>
          <p:cNvPr id="22" name="Rounded Rectangle 8">
            <a:extLst>
              <a:ext uri="{FF2B5EF4-FFF2-40B4-BE49-F238E27FC236}">
                <a16:creationId xmlns:a16="http://schemas.microsoft.com/office/drawing/2014/main" id="{4E923DE9-CD29-D2A3-4214-89B47D90C292}"/>
              </a:ext>
            </a:extLst>
          </p:cNvPr>
          <p:cNvSpPr/>
          <p:nvPr/>
        </p:nvSpPr>
        <p:spPr>
          <a:xfrm>
            <a:off x="2142838" y="2372552"/>
            <a:ext cx="1741926" cy="2602600"/>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240kt</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capacity (PP)</a:t>
            </a:r>
            <a:r>
              <a:rPr lang="en-US" sz="1000" kern="0">
                <a:solidFill>
                  <a:srgbClr val="373737"/>
                </a:solidFill>
                <a:latin typeface="The Wave Sans T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rgbClr val="0032A0"/>
                </a:solidFill>
                <a:latin typeface="The Wave Sans TT"/>
              </a:rPr>
              <a:t>33</a:t>
            </a:r>
            <a:r>
              <a:rPr kumimoji="0" lang="en-US" sz="1000" b="1" i="0" u="none" strike="noStrike" kern="0" cap="none" spc="0" normalizeH="0" baseline="0" noProof="0">
                <a:ln>
                  <a:noFill/>
                </a:ln>
                <a:solidFill>
                  <a:srgbClr val="0032A0"/>
                </a:solidFill>
                <a:effectLst/>
                <a:uLnTx/>
                <a:uFillTx/>
                <a:latin typeface="The Wave Sans TT"/>
                <a:ea typeface="+mn-ea"/>
                <a:cs typeface="+mn-cs"/>
              </a:rPr>
              <a:t>kt</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capacity (BOPP)</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80%</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vertical integration in propylene supply</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gt;60% </a:t>
            </a:r>
            <a:r>
              <a:rPr kumimoji="0" lang="en-US" sz="1000" b="0" i="0" u="none" strike="noStrike" kern="0" cap="none" spc="0" normalizeH="0" baseline="0" noProof="0">
                <a:ln>
                  <a:noFill/>
                </a:ln>
                <a:solidFill>
                  <a:srgbClr val="373737"/>
                </a:solidFill>
                <a:effectLst/>
                <a:uLnTx/>
                <a:uFillTx/>
                <a:latin typeface="The Wave Sans TT"/>
                <a:ea typeface="+mn-ea"/>
                <a:cs typeface="+mn-cs"/>
              </a:rPr>
              <a:t>exports</a:t>
            </a:r>
          </a:p>
        </p:txBody>
      </p:sp>
      <p:sp>
        <p:nvSpPr>
          <p:cNvPr id="23" name="Rectangle: Rounded Corners 22">
            <a:extLst>
              <a:ext uri="{FF2B5EF4-FFF2-40B4-BE49-F238E27FC236}">
                <a16:creationId xmlns:a16="http://schemas.microsoft.com/office/drawing/2014/main" id="{49D2B5D0-1527-D891-921F-2F50ADE921EC}"/>
              </a:ext>
            </a:extLst>
          </p:cNvPr>
          <p:cNvSpPr/>
          <p:nvPr/>
        </p:nvSpPr>
        <p:spPr>
          <a:xfrm>
            <a:off x="2205225" y="2009120"/>
            <a:ext cx="1615455" cy="346583"/>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32A0"/>
                </a:solidFill>
                <a:effectLst/>
                <a:uLnTx/>
                <a:uFillTx/>
                <a:latin typeface="The Wave Sans TT"/>
                <a:ea typeface="+mn-ea"/>
                <a:cs typeface="+mn-cs"/>
              </a:rPr>
              <a:t>Petrochemicals</a:t>
            </a:r>
            <a:endParaRPr kumimoji="0" lang="en-US" sz="1400" b="1" i="0" u="none" strike="noStrike" kern="0" cap="none" spc="0" normalizeH="0" baseline="0" noProof="0">
              <a:ln>
                <a:noFill/>
              </a:ln>
              <a:solidFill>
                <a:srgbClr val="0032A0"/>
              </a:solidFill>
              <a:effectLst/>
              <a:uLnTx/>
              <a:uFillTx/>
              <a:latin typeface="The Wave Sans TT"/>
              <a:ea typeface="+mn-ea"/>
              <a:cs typeface="+mn-cs"/>
            </a:endParaRPr>
          </a:p>
        </p:txBody>
      </p:sp>
      <p:sp>
        <p:nvSpPr>
          <p:cNvPr id="26" name="Rounded Rectangle 8">
            <a:extLst>
              <a:ext uri="{FF2B5EF4-FFF2-40B4-BE49-F238E27FC236}">
                <a16:creationId xmlns:a16="http://schemas.microsoft.com/office/drawing/2014/main" id="{4B1727EF-BC8F-F9A8-2BD6-ECC1B793191C}"/>
              </a:ext>
            </a:extLst>
          </p:cNvPr>
          <p:cNvSpPr/>
          <p:nvPr/>
        </p:nvSpPr>
        <p:spPr>
          <a:xfrm>
            <a:off x="3985385" y="2357834"/>
            <a:ext cx="1741926" cy="2617318"/>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Domestic</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1,583</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fuel stations </a:t>
            </a:r>
            <a:br>
              <a:rPr kumimoji="0" lang="en-US" sz="1000" b="0" i="0" u="none" strike="noStrike" kern="0" cap="none" spc="0" normalizeH="0" baseline="0" noProof="0">
                <a:ln>
                  <a:noFill/>
                </a:ln>
                <a:solidFill>
                  <a:srgbClr val="373737"/>
                </a:solidFill>
                <a:effectLst/>
                <a:uLnTx/>
                <a:uFillTx/>
                <a:latin typeface="The Wave Sans TT"/>
                <a:ea typeface="+mn-ea"/>
                <a:cs typeface="+mn-cs"/>
              </a:rPr>
            </a:br>
            <a:r>
              <a:rPr kumimoji="0" lang="en-US" sz="1000" b="0" i="0" u="none" strike="noStrike" kern="0" cap="none" spc="0" normalizeH="0" baseline="0" noProof="0">
                <a:ln>
                  <a:noFill/>
                </a:ln>
                <a:solidFill>
                  <a:srgbClr val="373737"/>
                </a:solidFill>
                <a:effectLst/>
                <a:uLnTx/>
                <a:uFillTx/>
                <a:latin typeface="The Wave Sans TT"/>
                <a:ea typeface="+mn-ea"/>
                <a:cs typeface="+mn-cs"/>
              </a:rPr>
              <a:t>(EKO and BP bran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73737"/>
                </a:solidFill>
                <a:effectLst/>
                <a:uLnTx/>
                <a:uFillTx/>
                <a:latin typeface="The Wave Sans TT"/>
                <a:ea typeface="+mn-ea"/>
                <a:cs typeface="+mn-cs"/>
              </a:rPr>
              <a:t>Leading position in GR Aviation and Bunk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gt;30%  </a:t>
            </a:r>
            <a:r>
              <a:rPr kumimoji="0" lang="en-US" sz="1000" b="0" i="0" u="none" strike="noStrike" kern="0" cap="none" spc="0" normalizeH="0" baseline="0" noProof="0">
                <a:ln>
                  <a:noFill/>
                </a:ln>
                <a:solidFill>
                  <a:srgbClr val="373737"/>
                </a:solidFill>
                <a:effectLst/>
                <a:uLnTx/>
                <a:uFillTx/>
                <a:latin typeface="The Wave Sans TT"/>
                <a:ea typeface="+mn-ea"/>
                <a:cs typeface="+mn-cs"/>
              </a:rPr>
              <a:t>market shar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7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73737"/>
                </a:solidFill>
                <a:effectLst/>
                <a:uLnTx/>
                <a:uFillTx/>
                <a:latin typeface="The Wave Sans TT"/>
                <a:ea typeface="+mn-ea"/>
                <a:cs typeface="+mn-cs"/>
              </a:rPr>
              <a:t>Developing e-mobility network</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International</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329</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fuel s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5</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countries</a:t>
            </a:r>
          </a:p>
        </p:txBody>
      </p:sp>
      <p:sp>
        <p:nvSpPr>
          <p:cNvPr id="27" name="Rectangle: Rounded Corners 26">
            <a:extLst>
              <a:ext uri="{FF2B5EF4-FFF2-40B4-BE49-F238E27FC236}">
                <a16:creationId xmlns:a16="http://schemas.microsoft.com/office/drawing/2014/main" id="{8994ABAB-3CA8-DCD6-FE02-20363A3CC4AB}"/>
              </a:ext>
            </a:extLst>
          </p:cNvPr>
          <p:cNvSpPr/>
          <p:nvPr/>
        </p:nvSpPr>
        <p:spPr>
          <a:xfrm>
            <a:off x="4308800" y="1981088"/>
            <a:ext cx="1183320" cy="405354"/>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0" cap="none" spc="0" normalizeH="0" baseline="0" noProof="0">
                <a:ln>
                  <a:noFill/>
                </a:ln>
                <a:solidFill>
                  <a:srgbClr val="0032A0"/>
                </a:solidFill>
                <a:effectLst/>
                <a:uLnTx/>
                <a:uFillTx/>
                <a:latin typeface="The Wave Sans TT"/>
                <a:ea typeface="+mn-ea"/>
                <a:cs typeface="+mn-cs"/>
              </a:rPr>
              <a:t>Marketing</a:t>
            </a:r>
            <a:endParaRPr kumimoji="0" lang="en-US" sz="1100" b="0" i="0" u="none" strike="noStrike" kern="0" cap="none" spc="0" normalizeH="0" baseline="0" noProof="0">
              <a:ln>
                <a:noFill/>
              </a:ln>
              <a:solidFill>
                <a:srgbClr val="7F7F7F"/>
              </a:solidFill>
              <a:effectLst/>
              <a:uLnTx/>
              <a:uFillTx/>
              <a:latin typeface="The Wave Sans TT"/>
              <a:ea typeface="+mn-ea"/>
              <a:cs typeface="+mn-cs"/>
            </a:endParaRPr>
          </a:p>
        </p:txBody>
      </p:sp>
      <p:sp>
        <p:nvSpPr>
          <p:cNvPr id="30" name="Rounded Rectangle 8">
            <a:extLst>
              <a:ext uri="{FF2B5EF4-FFF2-40B4-BE49-F238E27FC236}">
                <a16:creationId xmlns:a16="http://schemas.microsoft.com/office/drawing/2014/main" id="{BD149DC4-9832-4160-9C6A-81CE08019D7D}"/>
              </a:ext>
            </a:extLst>
          </p:cNvPr>
          <p:cNvSpPr/>
          <p:nvPr/>
        </p:nvSpPr>
        <p:spPr>
          <a:xfrm>
            <a:off x="8147920" y="2360657"/>
            <a:ext cx="1741926" cy="1644407"/>
          </a:xfrm>
          <a:prstGeom prst="roundRect">
            <a:avLst/>
          </a:prstGeom>
          <a:no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0.5 GW </a:t>
            </a:r>
            <a:r>
              <a:rPr kumimoji="0" lang="en-US" sz="1000" b="0" i="0" u="none" strike="noStrike" kern="0" cap="none" spc="0" normalizeH="0" baseline="0" noProof="0">
                <a:ln>
                  <a:noFill/>
                </a:ln>
                <a:solidFill>
                  <a:srgbClr val="373737"/>
                </a:solidFill>
                <a:effectLst/>
                <a:uLnTx/>
                <a:uFillTx/>
                <a:latin typeface="The Wave Sans TT"/>
                <a:ea typeface="+mn-ea"/>
                <a:cs typeface="+mn-cs"/>
              </a:rPr>
              <a:t>in operation, </a:t>
            </a:r>
            <a:r>
              <a:rPr lang="en-US" sz="1000" kern="0">
                <a:solidFill>
                  <a:srgbClr val="373737"/>
                </a:solidFill>
                <a:latin typeface="The Wave Sans TT"/>
              </a:rPr>
              <a:t>growing to </a:t>
            </a:r>
            <a:r>
              <a:rPr lang="en-US" sz="1000" b="1" kern="0">
                <a:solidFill>
                  <a:schemeClr val="accent1"/>
                </a:solidFill>
                <a:latin typeface="The Wave Sans TT"/>
              </a:rPr>
              <a:t>&gt;1 GW </a:t>
            </a:r>
            <a:r>
              <a:rPr kumimoji="0" lang="en-US" sz="1000" b="0" i="0" u="none" strike="noStrike" kern="0" cap="none" spc="0" normalizeH="0" baseline="0" noProof="0">
                <a:ln>
                  <a:noFill/>
                </a:ln>
                <a:solidFill>
                  <a:srgbClr val="373737"/>
                </a:solidFill>
                <a:effectLst/>
                <a:uLnTx/>
                <a:uFillTx/>
                <a:latin typeface="The Wave Sans TT"/>
                <a:ea typeface="+mn-ea"/>
                <a:cs typeface="+mn-cs"/>
              </a:rPr>
              <a:t>by 202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5.2 GW </a:t>
            </a:r>
            <a:r>
              <a:rPr kumimoji="0" lang="en-US" sz="1000" b="0" i="0" u="none" strike="noStrike" kern="0" cap="none" spc="0" normalizeH="0" baseline="0" noProof="0">
                <a:ln>
                  <a:noFill/>
                </a:ln>
                <a:solidFill>
                  <a:srgbClr val="373737"/>
                </a:solidFill>
                <a:effectLst/>
                <a:uLnTx/>
                <a:uFillTx/>
                <a:latin typeface="The Wave Sans TT"/>
                <a:ea typeface="+mn-ea"/>
                <a:cs typeface="+mn-cs"/>
              </a:rPr>
              <a:t>pipeline</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0">
                <a:latin typeface="The Wave Sans TT"/>
              </a:rPr>
              <a:t>Presence in </a:t>
            </a:r>
            <a:r>
              <a:rPr lang="en-US" sz="1000" b="1" kern="0">
                <a:solidFill>
                  <a:schemeClr val="accent1"/>
                </a:solidFill>
                <a:latin typeface="The Wave Sans TT"/>
              </a:rPr>
              <a:t>3 countries </a:t>
            </a:r>
            <a:r>
              <a:rPr lang="en-US" sz="1000" kern="0">
                <a:latin typeface="The Wave Sans TT"/>
              </a:rPr>
              <a:t>in SEE</a:t>
            </a:r>
            <a:endParaRPr kumimoji="0" lang="en-US" sz="1000" i="0" u="none" strike="noStrike" kern="0" cap="none" spc="0" normalizeH="0" baseline="0" noProof="0">
              <a:ln>
                <a:noFill/>
              </a:ln>
              <a:effectLst/>
              <a:uLnTx/>
              <a:uFillTx/>
              <a:latin typeface="The Wave Sans TT"/>
              <a:ea typeface="+mn-ea"/>
              <a:cs typeface="+mn-cs"/>
            </a:endParaRPr>
          </a:p>
        </p:txBody>
      </p:sp>
      <p:sp>
        <p:nvSpPr>
          <p:cNvPr id="31" name="Rectangle: Rounded Corners 30">
            <a:extLst>
              <a:ext uri="{FF2B5EF4-FFF2-40B4-BE49-F238E27FC236}">
                <a16:creationId xmlns:a16="http://schemas.microsoft.com/office/drawing/2014/main" id="{0DF6F5A4-A943-407B-5987-6FF0DC90E25F}"/>
              </a:ext>
            </a:extLst>
          </p:cNvPr>
          <p:cNvSpPr/>
          <p:nvPr/>
        </p:nvSpPr>
        <p:spPr>
          <a:xfrm>
            <a:off x="8324868" y="2017748"/>
            <a:ext cx="1377018" cy="222310"/>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0" cap="none" spc="0" normalizeH="0" baseline="0" noProof="0">
                <a:ln>
                  <a:noFill/>
                </a:ln>
                <a:solidFill>
                  <a:srgbClr val="0032A0"/>
                </a:solidFill>
                <a:effectLst/>
                <a:uLnTx/>
                <a:uFillTx/>
                <a:latin typeface="The Wave Sans TT"/>
                <a:ea typeface="+mn-ea"/>
                <a:cs typeface="+mn-cs"/>
              </a:rPr>
              <a:t>RES</a:t>
            </a:r>
            <a:endParaRPr kumimoji="0" lang="en-US" sz="1100" b="0" i="0" u="none" strike="noStrike" kern="0" cap="none" spc="0" normalizeH="0" baseline="0" noProof="0">
              <a:ln>
                <a:noFill/>
              </a:ln>
              <a:solidFill>
                <a:srgbClr val="7F7F7F"/>
              </a:solidFill>
              <a:effectLst/>
              <a:uLnTx/>
              <a:uFillTx/>
              <a:latin typeface="The Wave Sans TT"/>
              <a:ea typeface="+mn-ea"/>
              <a:cs typeface="+mn-cs"/>
            </a:endParaRPr>
          </a:p>
        </p:txBody>
      </p:sp>
      <p:sp>
        <p:nvSpPr>
          <p:cNvPr id="35" name="Rectangle: Rounded Corners 34">
            <a:extLst>
              <a:ext uri="{FF2B5EF4-FFF2-40B4-BE49-F238E27FC236}">
                <a16:creationId xmlns:a16="http://schemas.microsoft.com/office/drawing/2014/main" id="{79156BD8-47B7-1FF0-6A11-3CD12283339E}"/>
              </a:ext>
            </a:extLst>
          </p:cNvPr>
          <p:cNvSpPr/>
          <p:nvPr/>
        </p:nvSpPr>
        <p:spPr>
          <a:xfrm>
            <a:off x="10083497" y="1994192"/>
            <a:ext cx="1598616" cy="297284"/>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0" cap="none" spc="0" normalizeH="0" baseline="0" noProof="0">
                <a:ln>
                  <a:noFill/>
                </a:ln>
                <a:solidFill>
                  <a:srgbClr val="0032A0"/>
                </a:solidFill>
                <a:effectLst/>
                <a:uLnTx/>
                <a:uFillTx/>
                <a:latin typeface="The Wave Sans TT"/>
                <a:ea typeface="+mn-ea"/>
                <a:cs typeface="+mn-cs"/>
              </a:rPr>
              <a:t>Power &amp; Gas</a:t>
            </a:r>
            <a:endParaRPr kumimoji="0" lang="en-US" sz="1200" b="0" i="0" u="none" strike="noStrike" kern="0" cap="none" spc="0" normalizeH="0" baseline="0" noProof="0">
              <a:ln>
                <a:noFill/>
              </a:ln>
              <a:solidFill>
                <a:srgbClr val="7F7F7F"/>
              </a:solidFill>
              <a:effectLst/>
              <a:uLnTx/>
              <a:uFillTx/>
              <a:latin typeface="The Wave Sans TT"/>
              <a:ea typeface="+mn-ea"/>
              <a:cs typeface="+mn-cs"/>
            </a:endParaRPr>
          </a:p>
        </p:txBody>
      </p:sp>
      <p:sp>
        <p:nvSpPr>
          <p:cNvPr id="38" name="Rounded Rectangle 8">
            <a:extLst>
              <a:ext uri="{FF2B5EF4-FFF2-40B4-BE49-F238E27FC236}">
                <a16:creationId xmlns:a16="http://schemas.microsoft.com/office/drawing/2014/main" id="{345B7E65-3235-8AC9-DA2C-46CB51C0C485}"/>
              </a:ext>
            </a:extLst>
          </p:cNvPr>
          <p:cNvSpPr/>
          <p:nvPr/>
        </p:nvSpPr>
        <p:spPr>
          <a:xfrm>
            <a:off x="6051355" y="2350767"/>
            <a:ext cx="1741926" cy="2634924"/>
          </a:xfrm>
          <a:prstGeom prst="roundRect">
            <a:avLst/>
          </a:prstGeom>
          <a:noFill/>
          <a:ln w="12700" cap="flat" cmpd="sng" algn="ctr">
            <a:solidFill>
              <a:schemeClr val="accent6"/>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6 offshore </a:t>
            </a:r>
            <a:r>
              <a:rPr kumimoji="0" lang="en-US" sz="1000" b="0" i="0" u="none" strike="noStrike" kern="0" cap="none" spc="0" normalizeH="0" baseline="0" noProof="0">
                <a:ln>
                  <a:noFill/>
                </a:ln>
                <a:solidFill>
                  <a:srgbClr val="373737"/>
                </a:solidFill>
                <a:effectLst/>
                <a:uLnTx/>
                <a:uFillTx/>
                <a:latin typeface="The Wave Sans TT"/>
                <a:ea typeface="+mn-ea"/>
                <a:cs typeface="+mn-cs"/>
              </a:rPr>
              <a:t>early exploration blocks in Greece (&gt;54 K sq.k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73737"/>
                </a:solidFill>
                <a:effectLst/>
                <a:uLnTx/>
                <a:uFillTx/>
                <a:latin typeface="The Wave Sans TT"/>
                <a:ea typeface="+mn-ea"/>
                <a:cs typeface="+mn-cs"/>
              </a:rPr>
              <a:t>Partnership with ExxonMobil in 2 blo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73737"/>
                </a:solidFill>
                <a:effectLst/>
                <a:uLnTx/>
                <a:uFillTx/>
                <a:latin typeface="The Wave Sans TT"/>
                <a:ea typeface="+mn-ea"/>
                <a:cs typeface="+mn-cs"/>
              </a:rPr>
              <a:t>Seismic surveys completed in all licensed blo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373737"/>
              </a:solidFill>
              <a:effectLst/>
              <a:uLnTx/>
              <a:uFillTx/>
              <a:latin typeface="The Wave Sans TT"/>
              <a:ea typeface="+mn-ea"/>
              <a:cs typeface="+mn-cs"/>
            </a:endParaRPr>
          </a:p>
        </p:txBody>
      </p:sp>
      <p:sp>
        <p:nvSpPr>
          <p:cNvPr id="39" name="Rectangle: Rounded Corners 38">
            <a:extLst>
              <a:ext uri="{FF2B5EF4-FFF2-40B4-BE49-F238E27FC236}">
                <a16:creationId xmlns:a16="http://schemas.microsoft.com/office/drawing/2014/main" id="{7695B1A0-FFA1-6502-7065-07C9A4AC8E57}"/>
              </a:ext>
            </a:extLst>
          </p:cNvPr>
          <p:cNvSpPr/>
          <p:nvPr/>
        </p:nvSpPr>
        <p:spPr>
          <a:xfrm>
            <a:off x="6390983" y="1983759"/>
            <a:ext cx="1009782" cy="340753"/>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0" cap="none" spc="0" normalizeH="0" baseline="0" noProof="0">
                <a:ln>
                  <a:noFill/>
                </a:ln>
                <a:solidFill>
                  <a:srgbClr val="0032A0"/>
                </a:solidFill>
                <a:effectLst/>
                <a:uLnTx/>
                <a:uFillTx/>
                <a:latin typeface="The Wave Sans TT"/>
                <a:ea typeface="+mn-ea"/>
                <a:cs typeface="+mn-cs"/>
              </a:rPr>
              <a:t>E&amp;P</a:t>
            </a:r>
            <a:endParaRPr kumimoji="0" lang="en-US" sz="1050" b="0" i="0" u="none" strike="noStrike" kern="0" cap="none" spc="0" normalizeH="0" baseline="0" noProof="0">
              <a:ln>
                <a:noFill/>
              </a:ln>
              <a:solidFill>
                <a:srgbClr val="7F7F7F"/>
              </a:solidFill>
              <a:effectLst/>
              <a:uLnTx/>
              <a:uFillTx/>
              <a:latin typeface="The Wave Sans TT"/>
              <a:ea typeface="+mn-ea"/>
              <a:cs typeface="+mn-cs"/>
            </a:endParaRPr>
          </a:p>
        </p:txBody>
      </p:sp>
      <p:pic>
        <p:nvPicPr>
          <p:cNvPr id="42" name="Picture 11">
            <a:extLst>
              <a:ext uri="{FF2B5EF4-FFF2-40B4-BE49-F238E27FC236}">
                <a16:creationId xmlns:a16="http://schemas.microsoft.com/office/drawing/2014/main" id="{3B3EF952-A7DE-56D4-ED4B-0042875DDAD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870583" y="2454907"/>
            <a:ext cx="266698" cy="283211"/>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3" descr="BP Logo | The most famous brands and company logos in the world">
            <a:extLst>
              <a:ext uri="{FF2B5EF4-FFF2-40B4-BE49-F238E27FC236}">
                <a16:creationId xmlns:a16="http://schemas.microsoft.com/office/drawing/2014/main" id="{63AAA73A-2AE6-F782-1BB2-4837ECA8CA95}"/>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21878" r="21878"/>
          <a:stretch/>
        </p:blipFill>
        <p:spPr bwMode="auto">
          <a:xfrm>
            <a:off x="5225039" y="2410658"/>
            <a:ext cx="375487" cy="327460"/>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DD3F199D-028B-279A-9CDE-0E9FEA1B6B78}"/>
              </a:ext>
            </a:extLst>
          </p:cNvPr>
          <p:cNvCxnSpPr/>
          <p:nvPr/>
        </p:nvCxnSpPr>
        <p:spPr>
          <a:xfrm>
            <a:off x="4138269" y="2772447"/>
            <a:ext cx="1436156" cy="0"/>
          </a:xfrm>
          <a:prstGeom prst="line">
            <a:avLst/>
          </a:prstGeom>
          <a:ln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04E84AA-3390-D1BB-9EB2-41275C283A13}"/>
              </a:ext>
            </a:extLst>
          </p:cNvPr>
          <p:cNvCxnSpPr/>
          <p:nvPr/>
        </p:nvCxnSpPr>
        <p:spPr>
          <a:xfrm>
            <a:off x="4117021" y="4514228"/>
            <a:ext cx="1436156" cy="0"/>
          </a:xfrm>
          <a:prstGeom prst="line">
            <a:avLst/>
          </a:prstGeom>
          <a:ln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688760A-C257-49C6-360A-E6AB0A8AE21B}"/>
              </a:ext>
            </a:extLst>
          </p:cNvPr>
          <p:cNvCxnSpPr/>
          <p:nvPr/>
        </p:nvCxnSpPr>
        <p:spPr>
          <a:xfrm>
            <a:off x="10164727" y="2772447"/>
            <a:ext cx="1436156" cy="0"/>
          </a:xfrm>
          <a:prstGeom prst="line">
            <a:avLst/>
          </a:prstGeom>
          <a:ln cap="rnd">
            <a:solidFill>
              <a:schemeClr val="accent3"/>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4A8D129-742B-36C0-37CF-6388B24E47B0}"/>
              </a:ext>
            </a:extLst>
          </p:cNvPr>
          <p:cNvCxnSpPr/>
          <p:nvPr/>
        </p:nvCxnSpPr>
        <p:spPr>
          <a:xfrm>
            <a:off x="10151315" y="3861048"/>
            <a:ext cx="1436156" cy="0"/>
          </a:xfrm>
          <a:prstGeom prst="line">
            <a:avLst/>
          </a:prstGeom>
          <a:ln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5" name="Rounded Rectangle 8">
            <a:extLst>
              <a:ext uri="{FF2B5EF4-FFF2-40B4-BE49-F238E27FC236}">
                <a16:creationId xmlns:a16="http://schemas.microsoft.com/office/drawing/2014/main" id="{7DE63FD5-98E9-3C16-7686-1F1EB1FB6160}"/>
              </a:ext>
            </a:extLst>
          </p:cNvPr>
          <p:cNvSpPr/>
          <p:nvPr/>
        </p:nvSpPr>
        <p:spPr>
          <a:xfrm>
            <a:off x="343060" y="5098341"/>
            <a:ext cx="1699323" cy="759796"/>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Revenue: 	       </a:t>
            </a:r>
            <a:r>
              <a:rPr kumimoji="0" lang="en-US" sz="900" b="1" i="0" u="none" strike="noStrike" kern="0" cap="none" spc="0" normalizeH="0" baseline="0" noProof="0">
                <a:ln>
                  <a:noFill/>
                </a:ln>
                <a:solidFill>
                  <a:srgbClr val="373737"/>
                </a:solidFill>
                <a:effectLst/>
                <a:uLnTx/>
                <a:uFillTx/>
                <a:latin typeface="The Wave Sans TT"/>
                <a:ea typeface="+mn-ea"/>
                <a:cs typeface="+mn-cs"/>
              </a:rPr>
              <a:t>11,34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Adj. EBITDA: </a:t>
            </a:r>
            <a:r>
              <a:rPr kumimoji="0" lang="en-US" sz="900" b="1" i="0" u="none" strike="noStrike" kern="0" cap="none" spc="0" normalizeH="0" baseline="0" noProof="0">
                <a:ln>
                  <a:noFill/>
                </a:ln>
                <a:solidFill>
                  <a:srgbClr val="373737"/>
                </a:solidFill>
                <a:effectLst/>
                <a:uLnTx/>
                <a:uFillTx/>
                <a:latin typeface="The Wave Sans TT"/>
                <a:ea typeface="+mn-ea"/>
                <a:cs typeface="+mn-cs"/>
              </a:rPr>
              <a:t>	             79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Capital Employed:        </a:t>
            </a:r>
            <a:r>
              <a:rPr kumimoji="0" lang="en-US" sz="900" b="1" i="0" u="none" strike="noStrike" kern="0" cap="none" spc="0" normalizeH="0" baseline="0" noProof="0">
                <a:ln>
                  <a:noFill/>
                </a:ln>
                <a:solidFill>
                  <a:srgbClr val="373737"/>
                </a:solidFill>
                <a:effectLst/>
                <a:uLnTx/>
                <a:uFillTx/>
                <a:latin typeface="The Wave Sans TT"/>
                <a:ea typeface="+mn-ea"/>
                <a:cs typeface="+mn-cs"/>
              </a:rPr>
              <a:t>2,53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73737"/>
              </a:solidFill>
              <a:effectLst/>
              <a:uLnTx/>
              <a:uFillTx/>
              <a:latin typeface="The Wave Sans TT"/>
              <a:ea typeface="+mn-ea"/>
              <a:cs typeface="+mn-cs"/>
            </a:endParaRPr>
          </a:p>
        </p:txBody>
      </p:sp>
      <p:sp>
        <p:nvSpPr>
          <p:cNvPr id="49" name="Rounded Rectangle 8">
            <a:extLst>
              <a:ext uri="{FF2B5EF4-FFF2-40B4-BE49-F238E27FC236}">
                <a16:creationId xmlns:a16="http://schemas.microsoft.com/office/drawing/2014/main" id="{1AF5733B-409E-C962-8FBE-A0387261DC27}"/>
              </a:ext>
            </a:extLst>
          </p:cNvPr>
          <p:cNvSpPr/>
          <p:nvPr/>
        </p:nvSpPr>
        <p:spPr>
          <a:xfrm>
            <a:off x="2141142" y="5098341"/>
            <a:ext cx="1743622" cy="759796"/>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Revenue: 	              </a:t>
            </a:r>
            <a:r>
              <a:rPr kumimoji="0" lang="en-US" sz="900" b="1" i="0" u="none" strike="noStrike" kern="0" cap="none" spc="0" normalizeH="0" baseline="0" noProof="0">
                <a:ln>
                  <a:noFill/>
                </a:ln>
                <a:solidFill>
                  <a:srgbClr val="373737"/>
                </a:solidFill>
                <a:effectLst/>
                <a:uLnTx/>
                <a:uFillTx/>
                <a:latin typeface="The Wave Sans TT"/>
                <a:ea typeface="+mn-ea"/>
                <a:cs typeface="+mn-cs"/>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Adj. EBITDA: </a:t>
            </a:r>
            <a:r>
              <a:rPr kumimoji="0" lang="en-US" sz="900" b="1" i="0" u="none" strike="noStrike" kern="0" cap="none" spc="0" normalizeH="0" baseline="0" noProof="0">
                <a:ln>
                  <a:noFill/>
                </a:ln>
                <a:solidFill>
                  <a:srgbClr val="373737"/>
                </a:solidFill>
                <a:effectLst/>
                <a:uLnTx/>
                <a:uFillTx/>
                <a:latin typeface="The Wave Sans TT"/>
                <a:ea typeface="+mn-ea"/>
                <a:cs typeface="+mn-cs"/>
              </a:rPr>
              <a:t>	                </a:t>
            </a:r>
            <a:r>
              <a:rPr kumimoji="0" lang="el-GR" sz="900" b="1" i="0" u="none" strike="noStrike" kern="0" cap="none" spc="0" normalizeH="0" baseline="0" noProof="0">
                <a:ln>
                  <a:noFill/>
                </a:ln>
                <a:solidFill>
                  <a:srgbClr val="373737"/>
                </a:solidFill>
                <a:effectLst/>
                <a:uLnTx/>
                <a:uFillTx/>
                <a:latin typeface="The Wave Sans TT"/>
                <a:ea typeface="+mn-ea"/>
                <a:cs typeface="+mn-cs"/>
              </a:rPr>
              <a:t> </a:t>
            </a:r>
            <a:r>
              <a:rPr lang="en-US" sz="900" b="1" kern="0">
                <a:solidFill>
                  <a:srgbClr val="373737"/>
                </a:solidFill>
                <a:latin typeface="The Wave Sans TT"/>
              </a:rPr>
              <a:t>54</a:t>
            </a:r>
            <a:endParaRPr kumimoji="0" lang="en-US" sz="900" b="1"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Capital Employed:                </a:t>
            </a:r>
            <a:r>
              <a:rPr kumimoji="0" lang="en-US" sz="900" b="1" i="0" u="none" strike="noStrike" kern="0" cap="none" spc="0" normalizeH="0" baseline="0" noProof="0">
                <a:ln>
                  <a:noFill/>
                </a:ln>
                <a:solidFill>
                  <a:srgbClr val="373737"/>
                </a:solidFill>
                <a:effectLst/>
                <a:uLnTx/>
                <a:uFillTx/>
                <a:latin typeface="The Wave Sans TT"/>
                <a:ea typeface="+mn-ea"/>
                <a:cs typeface="+mn-cs"/>
              </a:rPr>
              <a:t>86</a:t>
            </a:r>
          </a:p>
        </p:txBody>
      </p:sp>
      <p:sp>
        <p:nvSpPr>
          <p:cNvPr id="50" name="Rounded Rectangle 8">
            <a:extLst>
              <a:ext uri="{FF2B5EF4-FFF2-40B4-BE49-F238E27FC236}">
                <a16:creationId xmlns:a16="http://schemas.microsoft.com/office/drawing/2014/main" id="{AE53107C-A1E5-A283-7D86-C7CF9035829A}"/>
              </a:ext>
            </a:extLst>
          </p:cNvPr>
          <p:cNvSpPr/>
          <p:nvPr/>
        </p:nvSpPr>
        <p:spPr>
          <a:xfrm>
            <a:off x="3984536" y="5103878"/>
            <a:ext cx="1743622" cy="740996"/>
          </a:xfrm>
          <a:prstGeom prst="roundRect">
            <a:avLst/>
          </a:prstGeom>
          <a:noFill/>
          <a:ln w="12700" cap="flat" cmpd="sng" algn="ctr">
            <a:solidFill>
              <a:schemeClr val="accent2"/>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Revenue: 	           </a:t>
            </a:r>
            <a:r>
              <a:rPr kumimoji="0" lang="en-US" sz="900" b="1" i="0" u="none" strike="noStrike" kern="0" cap="none" spc="0" normalizeH="0" baseline="0" noProof="0">
                <a:ln>
                  <a:noFill/>
                </a:ln>
                <a:solidFill>
                  <a:srgbClr val="373737"/>
                </a:solidFill>
                <a:effectLst/>
                <a:uLnTx/>
                <a:uFillTx/>
                <a:latin typeface="The Wave Sans TT"/>
                <a:ea typeface="+mn-ea"/>
                <a:cs typeface="+mn-cs"/>
              </a:rPr>
              <a:t>5,1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Adj. EBITDA: </a:t>
            </a:r>
            <a:r>
              <a:rPr kumimoji="0" lang="en-US" sz="900" b="1" i="0" u="none" strike="noStrike" kern="0" cap="none" spc="0" normalizeH="0" baseline="0" noProof="0">
                <a:ln>
                  <a:noFill/>
                </a:ln>
                <a:solidFill>
                  <a:srgbClr val="373737"/>
                </a:solidFill>
                <a:effectLst/>
                <a:uLnTx/>
                <a:uFillTx/>
                <a:latin typeface="The Wave Sans TT"/>
                <a:ea typeface="+mn-ea"/>
                <a:cs typeface="+mn-cs"/>
              </a:rPr>
              <a:t>	                </a:t>
            </a:r>
            <a:r>
              <a:rPr lang="en-US" sz="900" b="1" kern="0">
                <a:solidFill>
                  <a:srgbClr val="373737"/>
                </a:solidFill>
                <a:latin typeface="The Wave Sans TT"/>
              </a:rPr>
              <a:t>124</a:t>
            </a:r>
            <a:endParaRPr kumimoji="0" lang="en-US" sz="900" b="1"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Capital Employed:              </a:t>
            </a:r>
            <a:r>
              <a:rPr kumimoji="0" lang="el-GR" sz="900" b="1" i="0" u="none" strike="noStrike" kern="0" cap="none" spc="0" normalizeH="0" baseline="0" noProof="0">
                <a:ln>
                  <a:noFill/>
                </a:ln>
                <a:solidFill>
                  <a:srgbClr val="0032A0"/>
                </a:solidFill>
                <a:effectLst/>
                <a:uLnTx/>
                <a:uFillTx/>
                <a:latin typeface="The Wave Sans TT"/>
                <a:ea typeface="+mn-ea"/>
                <a:cs typeface="+mn-cs"/>
              </a:rPr>
              <a:t> </a:t>
            </a:r>
            <a:r>
              <a:rPr kumimoji="0" lang="en-US" sz="900" b="1" i="0" u="none" strike="noStrike" kern="0" cap="none" spc="0" normalizeH="0" baseline="0" noProof="0">
                <a:ln>
                  <a:noFill/>
                </a:ln>
                <a:solidFill>
                  <a:srgbClr val="373737"/>
                </a:solidFill>
                <a:effectLst/>
                <a:uLnTx/>
                <a:uFillTx/>
                <a:latin typeface="The Wave Sans TT"/>
                <a:ea typeface="+mn-ea"/>
                <a:cs typeface="+mn-cs"/>
              </a:rPr>
              <a:t>6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73737"/>
              </a:solidFill>
              <a:effectLst/>
              <a:uLnTx/>
              <a:uFillTx/>
              <a:latin typeface="The Wave Sans TT"/>
              <a:ea typeface="+mn-ea"/>
              <a:cs typeface="+mn-cs"/>
            </a:endParaRPr>
          </a:p>
        </p:txBody>
      </p:sp>
      <p:sp>
        <p:nvSpPr>
          <p:cNvPr id="51" name="Rounded Rectangle 8">
            <a:extLst>
              <a:ext uri="{FF2B5EF4-FFF2-40B4-BE49-F238E27FC236}">
                <a16:creationId xmlns:a16="http://schemas.microsoft.com/office/drawing/2014/main" id="{B7F90C93-2149-7DE4-D6CE-D9C1E122DAA7}"/>
              </a:ext>
            </a:extLst>
          </p:cNvPr>
          <p:cNvSpPr/>
          <p:nvPr/>
        </p:nvSpPr>
        <p:spPr>
          <a:xfrm>
            <a:off x="6047765" y="5094478"/>
            <a:ext cx="1743622" cy="763659"/>
          </a:xfrm>
          <a:prstGeom prst="roundRect">
            <a:avLst/>
          </a:prstGeom>
          <a:noFill/>
          <a:ln w="12700" cap="flat" cmpd="sng" algn="ctr">
            <a:solidFill>
              <a:schemeClr val="accent6"/>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Revenue: 	                </a:t>
            </a:r>
            <a:r>
              <a:rPr kumimoji="0" lang="en-US" sz="900" b="1" i="0" u="none" strike="noStrike" kern="0" cap="none" spc="0" normalizeH="0" baseline="0" noProof="0">
                <a:ln>
                  <a:noFill/>
                </a:ln>
                <a:solidFill>
                  <a:srgbClr val="373737"/>
                </a:solidFill>
                <a:effectLst/>
                <a:uLnTx/>
                <a:uFillTx/>
                <a:latin typeface="The Wave Sans TT"/>
                <a:ea typeface="+mn-ea"/>
                <a:cs typeface="+mn-cs"/>
              </a:rPr>
              <a:t>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Adj. EBITDA: </a:t>
            </a:r>
            <a:r>
              <a:rPr kumimoji="0" lang="en-US" sz="900" b="1" i="0" u="none" strike="noStrike" kern="0" cap="none" spc="0" normalizeH="0" baseline="0" noProof="0">
                <a:ln>
                  <a:noFill/>
                </a:ln>
                <a:solidFill>
                  <a:srgbClr val="373737"/>
                </a:solidFill>
                <a:effectLst/>
                <a:uLnTx/>
                <a:uFillTx/>
                <a:latin typeface="The Wave Sans TT"/>
                <a:ea typeface="+mn-ea"/>
                <a:cs typeface="+mn-cs"/>
              </a:rPr>
              <a:t>	                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Capital Employed:         </a:t>
            </a:r>
            <a:r>
              <a:rPr kumimoji="0" lang="el-GR" sz="900" b="1" i="0" u="none" strike="noStrike" kern="0" cap="none" spc="0" normalizeH="0" baseline="0" noProof="0">
                <a:ln>
                  <a:noFill/>
                </a:ln>
                <a:solidFill>
                  <a:srgbClr val="0032A0"/>
                </a:solidFill>
                <a:effectLst/>
                <a:uLnTx/>
                <a:uFillTx/>
                <a:latin typeface="The Wave Sans TT"/>
                <a:ea typeface="+mn-ea"/>
                <a:cs typeface="+mn-cs"/>
              </a:rPr>
              <a:t>   </a:t>
            </a:r>
            <a:r>
              <a:rPr kumimoji="0" lang="en-GB" sz="900" b="1" i="0" u="none" strike="noStrike" kern="0" cap="none" spc="0" normalizeH="0" baseline="0" noProof="0">
                <a:ln>
                  <a:noFill/>
                </a:ln>
                <a:solidFill>
                  <a:srgbClr val="0032A0"/>
                </a:solidFill>
                <a:effectLst/>
                <a:uLnTx/>
                <a:uFillTx/>
                <a:latin typeface="The Wave Sans TT"/>
                <a:ea typeface="+mn-ea"/>
                <a:cs typeface="+mn-cs"/>
              </a:rPr>
              <a:t>    </a:t>
            </a:r>
            <a:r>
              <a:rPr kumimoji="0" lang="en-US" sz="900" b="1" i="0" u="none" strike="noStrike" kern="0" cap="none" spc="0" normalizeH="0" baseline="0" noProof="0">
                <a:ln>
                  <a:noFill/>
                </a:ln>
                <a:solidFill>
                  <a:srgbClr val="373737"/>
                </a:solidFill>
                <a:effectLst/>
                <a:uLnTx/>
                <a:uFillTx/>
                <a:latin typeface="The Wave Sans TT"/>
                <a:ea typeface="+mn-ea"/>
                <a:cs typeface="+mn-cs"/>
              </a:rPr>
              <a:t>na</a:t>
            </a:r>
            <a:endParaRPr kumimoji="0" lang="en-US" sz="900" b="1" i="0" u="none" strike="noStrike" kern="0" cap="none" spc="0" normalizeH="0" baseline="3000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73737"/>
              </a:solidFill>
              <a:effectLst/>
              <a:uLnTx/>
              <a:uFillTx/>
              <a:latin typeface="The Wave Sans TT"/>
              <a:ea typeface="+mn-ea"/>
              <a:cs typeface="+mn-cs"/>
            </a:endParaRPr>
          </a:p>
        </p:txBody>
      </p:sp>
      <p:sp>
        <p:nvSpPr>
          <p:cNvPr id="52" name="Rounded Rectangle 8">
            <a:extLst>
              <a:ext uri="{FF2B5EF4-FFF2-40B4-BE49-F238E27FC236}">
                <a16:creationId xmlns:a16="http://schemas.microsoft.com/office/drawing/2014/main" id="{A6BA56CF-4B92-5597-EBA6-C2FF1D228326}"/>
              </a:ext>
            </a:extLst>
          </p:cNvPr>
          <p:cNvSpPr/>
          <p:nvPr/>
        </p:nvSpPr>
        <p:spPr>
          <a:xfrm>
            <a:off x="9959953" y="5094478"/>
            <a:ext cx="1743622" cy="759796"/>
          </a:xfrm>
          <a:prstGeom prst="roundRect">
            <a:avLst/>
          </a:prstGeom>
          <a:no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err="1">
                <a:ln>
                  <a:noFill/>
                </a:ln>
                <a:solidFill>
                  <a:srgbClr val="0032A0"/>
                </a:solidFill>
                <a:effectLst/>
                <a:uLnTx/>
                <a:uFillTx/>
                <a:latin typeface="The Wave Sans TT"/>
                <a:ea typeface="+mn-ea"/>
                <a:cs typeface="+mn-cs"/>
              </a:rPr>
              <a:t>Elpedison</a:t>
            </a:r>
            <a:r>
              <a:rPr kumimoji="0" lang="en-US" sz="900" b="1" i="0" u="none" strike="noStrike" kern="0" cap="none" spc="0" normalizeH="0" baseline="0" noProof="0">
                <a:ln>
                  <a:noFill/>
                </a:ln>
                <a:solidFill>
                  <a:srgbClr val="0032A0"/>
                </a:solidFill>
                <a:effectLst/>
                <a:uLnTx/>
                <a:uFillTx/>
                <a:latin typeface="The Wave Sans TT"/>
                <a:ea typeface="+mn-ea"/>
                <a:cs typeface="+mn-cs"/>
              </a:rPr>
              <a:t> Revenue</a:t>
            </a:r>
            <a:r>
              <a:rPr kumimoji="0" lang="en-US" sz="900" b="1" i="0" u="none" strike="noStrike" kern="0" cap="none" spc="0" normalizeH="0" baseline="0" noProof="0">
                <a:ln>
                  <a:noFill/>
                </a:ln>
                <a:solidFill>
                  <a:srgbClr val="373737"/>
                </a:solidFill>
                <a:effectLst/>
                <a:uLnTx/>
                <a:uFillTx/>
                <a:latin typeface="The Wave Sans TT"/>
                <a:ea typeface="+mn-ea"/>
                <a:cs typeface="+mn-cs"/>
              </a:rPr>
              <a:t>:  </a:t>
            </a:r>
            <a:r>
              <a:rPr lang="en-US" sz="900" b="1" kern="0">
                <a:solidFill>
                  <a:srgbClr val="373737"/>
                </a:solidFill>
                <a:latin typeface="The Wave Sans TT"/>
              </a:rPr>
              <a:t>    </a:t>
            </a:r>
            <a:r>
              <a:rPr kumimoji="0" lang="en-US" sz="900" b="1" i="0" u="none" strike="noStrike" kern="0" cap="none" spc="0" normalizeH="0" baseline="0" noProof="0">
                <a:ln>
                  <a:noFill/>
                </a:ln>
                <a:solidFill>
                  <a:srgbClr val="373737"/>
                </a:solidFill>
                <a:effectLst/>
                <a:uLnTx/>
                <a:uFillTx/>
                <a:latin typeface="The Wave Sans TT"/>
                <a:ea typeface="+mn-ea"/>
                <a:cs typeface="+mn-cs"/>
              </a:rPr>
              <a:t>1,26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err="1">
                <a:ln>
                  <a:noFill/>
                </a:ln>
                <a:solidFill>
                  <a:srgbClr val="0032A0"/>
                </a:solidFill>
                <a:effectLst/>
                <a:uLnTx/>
                <a:uFillTx/>
                <a:latin typeface="The Wave Sans TT"/>
                <a:ea typeface="+mn-ea"/>
                <a:cs typeface="+mn-cs"/>
              </a:rPr>
              <a:t>Elpedison</a:t>
            </a:r>
            <a:r>
              <a:rPr kumimoji="0" lang="en-US" sz="900" b="1" i="0" u="none" strike="noStrike" kern="0" cap="none" spc="0" normalizeH="0" baseline="0" noProof="0">
                <a:ln>
                  <a:noFill/>
                </a:ln>
                <a:solidFill>
                  <a:srgbClr val="0032A0"/>
                </a:solidFill>
                <a:effectLst/>
                <a:uLnTx/>
                <a:uFillTx/>
                <a:latin typeface="The Wave Sans TT"/>
                <a:ea typeface="+mn-ea"/>
                <a:cs typeface="+mn-cs"/>
              </a:rPr>
              <a:t> EBITDA:</a:t>
            </a:r>
            <a:r>
              <a:rPr kumimoji="0" lang="el-GR" sz="900" b="1" i="0" u="none" strike="noStrike" kern="0" cap="none" spc="0" normalizeH="0" baseline="0" noProof="0">
                <a:ln>
                  <a:noFill/>
                </a:ln>
                <a:solidFill>
                  <a:srgbClr val="373737"/>
                </a:solidFill>
                <a:effectLst/>
                <a:uLnTx/>
                <a:uFillTx/>
                <a:latin typeface="The Wave Sans TT"/>
                <a:ea typeface="+mn-ea"/>
                <a:cs typeface="+mn-cs"/>
              </a:rPr>
              <a:t> </a:t>
            </a:r>
            <a:r>
              <a:rPr kumimoji="0" lang="en-US" sz="900" b="1" i="0" u="none" strike="noStrike" kern="0" cap="none" spc="0" normalizeH="0" baseline="0" noProof="0">
                <a:ln>
                  <a:noFill/>
                </a:ln>
                <a:solidFill>
                  <a:srgbClr val="373737"/>
                </a:solidFill>
                <a:effectLst/>
                <a:uLnTx/>
                <a:uFillTx/>
                <a:latin typeface="The Wave Sans TT"/>
                <a:ea typeface="+mn-ea"/>
                <a:cs typeface="+mn-cs"/>
              </a:rPr>
              <a:t>              43</a:t>
            </a:r>
            <a:endParaRPr kumimoji="0" lang="en-US" sz="900" b="1" i="0" u="none" strike="noStrike" kern="0" cap="none" spc="0" normalizeH="0" baseline="0" noProof="0">
              <a:ln>
                <a:noFill/>
              </a:ln>
              <a:solidFill>
                <a:srgbClr val="0032A0"/>
              </a:solidFill>
              <a:effectLst/>
              <a:uLnTx/>
              <a:uFillTx/>
              <a:latin typeface="The Wave Sans TT"/>
              <a:ea typeface="+mn-ea"/>
              <a:cs typeface="+mn-cs"/>
            </a:endParaRPr>
          </a:p>
        </p:txBody>
      </p:sp>
      <p:sp>
        <p:nvSpPr>
          <p:cNvPr id="53" name="Rounded Rectangle 8">
            <a:extLst>
              <a:ext uri="{FF2B5EF4-FFF2-40B4-BE49-F238E27FC236}">
                <a16:creationId xmlns:a16="http://schemas.microsoft.com/office/drawing/2014/main" id="{4EEF35A7-DC70-8FBF-D982-8EED19BFBE5A}"/>
              </a:ext>
            </a:extLst>
          </p:cNvPr>
          <p:cNvSpPr/>
          <p:nvPr/>
        </p:nvSpPr>
        <p:spPr>
          <a:xfrm>
            <a:off x="8141566" y="5094478"/>
            <a:ext cx="1743622" cy="759796"/>
          </a:xfrm>
          <a:prstGeom prst="roundRect">
            <a:avLst/>
          </a:prstGeom>
          <a:no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Revenue: 	                  </a:t>
            </a:r>
            <a:r>
              <a:rPr lang="en-US" sz="900" b="1" kern="0">
                <a:solidFill>
                  <a:srgbClr val="373737"/>
                </a:solidFill>
                <a:latin typeface="The Wave Sans TT"/>
              </a:rPr>
              <a:t>60</a:t>
            </a:r>
            <a:endParaRPr kumimoji="0" lang="en-US" sz="900" b="1"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Adj. EBITDA: </a:t>
            </a:r>
            <a:r>
              <a:rPr kumimoji="0" lang="en-US" sz="900" b="1" i="0" u="none" strike="noStrike" kern="0" cap="none" spc="0" normalizeH="0" baseline="0" noProof="0">
                <a:ln>
                  <a:noFill/>
                </a:ln>
                <a:solidFill>
                  <a:srgbClr val="373737"/>
                </a:solidFill>
                <a:effectLst/>
                <a:uLnTx/>
                <a:uFillTx/>
                <a:latin typeface="The Wave Sans TT"/>
                <a:ea typeface="+mn-ea"/>
                <a:cs typeface="+mn-cs"/>
              </a:rPr>
              <a:t>	                  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32A0"/>
                </a:solidFill>
                <a:effectLst/>
                <a:uLnTx/>
                <a:uFillTx/>
                <a:latin typeface="The Wave Sans TT"/>
                <a:ea typeface="+mn-ea"/>
                <a:cs typeface="+mn-cs"/>
              </a:rPr>
              <a:t>Capital Employed:     </a:t>
            </a:r>
            <a:r>
              <a:rPr kumimoji="0" lang="el-GR" sz="900" b="1" i="0" u="none" strike="noStrike" kern="0" cap="none" spc="0" normalizeH="0" baseline="0" noProof="0">
                <a:ln>
                  <a:noFill/>
                </a:ln>
                <a:solidFill>
                  <a:srgbClr val="0032A0"/>
                </a:solidFill>
                <a:effectLst/>
                <a:uLnTx/>
                <a:uFillTx/>
                <a:latin typeface="The Wave Sans TT"/>
                <a:ea typeface="+mn-ea"/>
                <a:cs typeface="+mn-cs"/>
              </a:rPr>
              <a:t> </a:t>
            </a:r>
            <a:r>
              <a:rPr kumimoji="0" lang="en-US" sz="900" b="1" i="0" u="none" strike="noStrike" kern="0" cap="none" spc="0" normalizeH="0" baseline="0" noProof="0">
                <a:ln>
                  <a:noFill/>
                </a:ln>
                <a:solidFill>
                  <a:srgbClr val="0032A0"/>
                </a:solidFill>
                <a:effectLst/>
                <a:uLnTx/>
                <a:uFillTx/>
                <a:latin typeface="The Wave Sans TT"/>
                <a:ea typeface="+mn-ea"/>
                <a:cs typeface="+mn-cs"/>
              </a:rPr>
              <a:t>         </a:t>
            </a:r>
            <a:r>
              <a:rPr kumimoji="0" lang="en-US" sz="900" b="1" i="0" u="none" strike="noStrike" kern="0" cap="none" spc="0" normalizeH="0" baseline="0" noProof="0">
                <a:ln>
                  <a:noFill/>
                </a:ln>
                <a:solidFill>
                  <a:srgbClr val="373737"/>
                </a:solidFill>
                <a:effectLst/>
                <a:uLnTx/>
                <a:uFillTx/>
                <a:latin typeface="The Wave Sans TT"/>
                <a:ea typeface="+mn-ea"/>
                <a:cs typeface="+mn-cs"/>
              </a:rPr>
              <a:t>47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373737"/>
              </a:solidFill>
              <a:effectLst/>
              <a:uLnTx/>
              <a:uFillTx/>
              <a:latin typeface="The Wave Sans TT"/>
              <a:ea typeface="+mn-ea"/>
              <a:cs typeface="+mn-cs"/>
            </a:endParaRPr>
          </a:p>
        </p:txBody>
      </p:sp>
      <p:sp>
        <p:nvSpPr>
          <p:cNvPr id="54" name="Rounded Rectangle 8">
            <a:extLst>
              <a:ext uri="{FF2B5EF4-FFF2-40B4-BE49-F238E27FC236}">
                <a16:creationId xmlns:a16="http://schemas.microsoft.com/office/drawing/2014/main" id="{0F36FE54-C4FB-3558-4AB5-A7A79C14671A}"/>
              </a:ext>
            </a:extLst>
          </p:cNvPr>
          <p:cNvSpPr/>
          <p:nvPr/>
        </p:nvSpPr>
        <p:spPr>
          <a:xfrm>
            <a:off x="8586040" y="6281843"/>
            <a:ext cx="854673" cy="228580"/>
          </a:xfrm>
          <a:prstGeom prst="roundRect">
            <a:avLst/>
          </a:prstGeom>
          <a:noFill/>
          <a:ln w="12700" cap="flat" cmpd="sng" algn="ctr">
            <a:solidFill>
              <a:schemeClr val="accent1"/>
            </a:solidFill>
            <a:prstDash val="solid"/>
            <a:miter lim="800000"/>
          </a:ln>
          <a:effectLst/>
        </p:spPr>
        <p:txBody>
          <a:bodyPr lIns="108000" tIns="72000" rIns="108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32A0"/>
                </a:solidFill>
                <a:effectLst/>
                <a:uLnTx/>
                <a:uFillTx/>
                <a:latin typeface="The Wave Sans TT"/>
                <a:ea typeface="+mn-ea"/>
                <a:cs typeface="+mn-cs"/>
              </a:rPr>
              <a:t>in €m, FY 24</a:t>
            </a:r>
          </a:p>
        </p:txBody>
      </p:sp>
      <p:sp>
        <p:nvSpPr>
          <p:cNvPr id="41" name="Title 2">
            <a:extLst>
              <a:ext uri="{FF2B5EF4-FFF2-40B4-BE49-F238E27FC236}">
                <a16:creationId xmlns:a16="http://schemas.microsoft.com/office/drawing/2014/main" id="{C44C26F8-D612-9B9D-A70F-E6EC37C3C5DB}"/>
              </a:ext>
            </a:extLst>
          </p:cNvPr>
          <p:cNvSpPr>
            <a:spLocks noGrp="1"/>
          </p:cNvSpPr>
          <p:nvPr>
            <p:ph type="title"/>
          </p:nvPr>
        </p:nvSpPr>
        <p:spPr>
          <a:xfrm>
            <a:off x="443372" y="379660"/>
            <a:ext cx="11305716" cy="307777"/>
          </a:xfrm>
        </p:spPr>
        <p:txBody>
          <a:bodyPr vert="horz" wrap="square" lIns="0" tIns="0" rIns="0" bIns="0" rtlCol="0" anchor="t">
            <a:spAutoFit/>
          </a:bodyPr>
          <a:lstStyle/>
          <a:p>
            <a:r>
              <a:rPr lang="en-US" sz="2000"/>
              <a:t>Southeast Europe’s leading downstream Group with presence along the energy value chain</a:t>
            </a:r>
          </a:p>
        </p:txBody>
      </p:sp>
      <p:pic>
        <p:nvPicPr>
          <p:cNvPr id="12" name="Picture 11">
            <a:extLst>
              <a:ext uri="{FF2B5EF4-FFF2-40B4-BE49-F238E27FC236}">
                <a16:creationId xmlns:a16="http://schemas.microsoft.com/office/drawing/2014/main" id="{1C3966E2-8F2D-4B93-2881-C8F51C313342}"/>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272423" y="794007"/>
            <a:ext cx="1647153" cy="473320"/>
          </a:xfrm>
          <a:prstGeom prst="rect">
            <a:avLst/>
          </a:prstGeom>
        </p:spPr>
      </p:pic>
      <p:sp>
        <p:nvSpPr>
          <p:cNvPr id="58" name="Rounded Rectangle 57">
            <a:extLst>
              <a:ext uri="{FF2B5EF4-FFF2-40B4-BE49-F238E27FC236}">
                <a16:creationId xmlns:a16="http://schemas.microsoft.com/office/drawing/2014/main" id="{D75963DE-481B-3496-0197-5D1858EF9BE7}"/>
              </a:ext>
            </a:extLst>
          </p:cNvPr>
          <p:cNvSpPr/>
          <p:nvPr/>
        </p:nvSpPr>
        <p:spPr>
          <a:xfrm>
            <a:off x="2197866" y="1558382"/>
            <a:ext cx="1615455" cy="382642"/>
          </a:xfrm>
          <a:prstGeom prst="roundRect">
            <a:avLst/>
          </a:prstGeom>
          <a:solidFill>
            <a:schemeClr val="accent2"/>
          </a:solidFill>
          <a:ln w="12700" cap="flat" cmpd="sng" algn="ctr">
            <a:solidFill>
              <a:schemeClr val="bg1"/>
            </a:solid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The Wave Sans TT"/>
                <a:ea typeface="+mn-ea"/>
                <a:cs typeface="+mn-cs"/>
              </a:rPr>
              <a:t>Downstream</a:t>
            </a:r>
            <a:endParaRPr kumimoji="0" lang="en-US" sz="1400" b="1" i="0" u="none" strike="noStrike" kern="0" cap="none" spc="0" normalizeH="0" baseline="0" noProof="0">
              <a:ln>
                <a:noFill/>
              </a:ln>
              <a:solidFill>
                <a:prstClr val="white"/>
              </a:solidFill>
              <a:effectLst/>
              <a:uLnTx/>
              <a:uFillTx/>
              <a:latin typeface="The Wave Sans TT"/>
              <a:ea typeface="+mn-ea"/>
              <a:cs typeface="+mn-cs"/>
            </a:endParaRPr>
          </a:p>
        </p:txBody>
      </p:sp>
      <p:sp>
        <p:nvSpPr>
          <p:cNvPr id="61" name="Rounded Rectangle 60">
            <a:extLst>
              <a:ext uri="{FF2B5EF4-FFF2-40B4-BE49-F238E27FC236}">
                <a16:creationId xmlns:a16="http://schemas.microsoft.com/office/drawing/2014/main" id="{5B739180-085E-1F9B-B64A-79AAA04A7C13}"/>
              </a:ext>
            </a:extLst>
          </p:cNvPr>
          <p:cNvSpPr/>
          <p:nvPr/>
        </p:nvSpPr>
        <p:spPr>
          <a:xfrm>
            <a:off x="9152226" y="1548665"/>
            <a:ext cx="1615455" cy="382642"/>
          </a:xfrm>
          <a:prstGeom prst="roundRect">
            <a:avLst/>
          </a:prstGeom>
          <a:solidFill>
            <a:schemeClr val="accent3"/>
          </a:solidFill>
          <a:ln w="12700" cap="flat" cmpd="sng" algn="ctr">
            <a:solidFill>
              <a:schemeClr val="accent3"/>
            </a:solid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The Wave Sans TT"/>
                <a:ea typeface="+mn-ea"/>
                <a:cs typeface="+mn-cs"/>
              </a:rPr>
              <a:t>New Energy</a:t>
            </a:r>
            <a:endParaRPr kumimoji="0" lang="en-US" sz="1400" b="1" i="0" u="none" strike="noStrike" kern="0" cap="none" spc="0" normalizeH="0" baseline="0" noProof="0">
              <a:ln>
                <a:noFill/>
              </a:ln>
              <a:solidFill>
                <a:schemeClr val="bg1"/>
              </a:solidFill>
              <a:effectLst/>
              <a:uLnTx/>
              <a:uFillTx/>
              <a:latin typeface="The Wave Sans TT"/>
              <a:ea typeface="+mn-ea"/>
              <a:cs typeface="+mn-cs"/>
            </a:endParaRPr>
          </a:p>
        </p:txBody>
      </p:sp>
      <p:cxnSp>
        <p:nvCxnSpPr>
          <p:cNvPr id="63" name="Straight Connector 62">
            <a:extLst>
              <a:ext uri="{FF2B5EF4-FFF2-40B4-BE49-F238E27FC236}">
                <a16:creationId xmlns:a16="http://schemas.microsoft.com/office/drawing/2014/main" id="{4E28188F-10FE-6C8E-E453-2396AB30000D}"/>
              </a:ext>
            </a:extLst>
          </p:cNvPr>
          <p:cNvCxnSpPr>
            <a:cxnSpLocks/>
          </p:cNvCxnSpPr>
          <p:nvPr/>
        </p:nvCxnSpPr>
        <p:spPr>
          <a:xfrm flipV="1">
            <a:off x="3005593" y="1393726"/>
            <a:ext cx="6903881" cy="10346"/>
          </a:xfrm>
          <a:prstGeom prst="line">
            <a:avLst/>
          </a:prstGeom>
          <a:ln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638BBF2D-46B9-9553-B5E7-8B4A13277DD2}"/>
              </a:ext>
            </a:extLst>
          </p:cNvPr>
          <p:cNvCxnSpPr/>
          <p:nvPr/>
        </p:nvCxnSpPr>
        <p:spPr>
          <a:xfrm>
            <a:off x="3004164" y="1403251"/>
            <a:ext cx="0" cy="140506"/>
          </a:xfrm>
          <a:prstGeom prst="straightConnector1">
            <a:avLst/>
          </a:prstGeom>
          <a:ln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E75A087-8D0B-0586-A223-3F2537A501C7}"/>
              </a:ext>
            </a:extLst>
          </p:cNvPr>
          <p:cNvCxnSpPr/>
          <p:nvPr/>
        </p:nvCxnSpPr>
        <p:spPr>
          <a:xfrm>
            <a:off x="9910220" y="1395446"/>
            <a:ext cx="0" cy="140506"/>
          </a:xfrm>
          <a:prstGeom prst="straightConnector1">
            <a:avLst/>
          </a:prstGeom>
          <a:ln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sp>
        <p:nvSpPr>
          <p:cNvPr id="67" name="Rounded Rectangle 66">
            <a:extLst>
              <a:ext uri="{FF2B5EF4-FFF2-40B4-BE49-F238E27FC236}">
                <a16:creationId xmlns:a16="http://schemas.microsoft.com/office/drawing/2014/main" id="{2A30C03C-54F1-9F3C-641E-5A49F9CC3A54}"/>
              </a:ext>
            </a:extLst>
          </p:cNvPr>
          <p:cNvSpPr/>
          <p:nvPr/>
        </p:nvSpPr>
        <p:spPr>
          <a:xfrm>
            <a:off x="6098519" y="1570695"/>
            <a:ext cx="1615455" cy="382642"/>
          </a:xfrm>
          <a:prstGeom prst="roundRect">
            <a:avLst/>
          </a:prstGeom>
          <a:solidFill>
            <a:schemeClr val="accent6"/>
          </a:solidFill>
          <a:ln w="12700" cap="flat" cmpd="sng" algn="ctr">
            <a:solidFill>
              <a:schemeClr val="bg1"/>
            </a:solid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The Wave Sans TT"/>
                <a:ea typeface="+mn-ea"/>
                <a:cs typeface="+mn-cs"/>
              </a:rPr>
              <a:t>Upstream</a:t>
            </a:r>
            <a:endParaRPr kumimoji="0" lang="en-US" sz="1400" b="1" i="0" u="none" strike="noStrike" kern="0" cap="none" spc="0" normalizeH="0" baseline="0" noProof="0">
              <a:ln>
                <a:noFill/>
              </a:ln>
              <a:solidFill>
                <a:schemeClr val="bg1"/>
              </a:solidFill>
              <a:effectLst/>
              <a:uLnTx/>
              <a:uFillTx/>
              <a:latin typeface="The Wave Sans TT"/>
              <a:ea typeface="+mn-ea"/>
              <a:cs typeface="+mn-cs"/>
            </a:endParaRPr>
          </a:p>
        </p:txBody>
      </p:sp>
      <p:cxnSp>
        <p:nvCxnSpPr>
          <p:cNvPr id="71" name="Straight Arrow Connector 70">
            <a:extLst>
              <a:ext uri="{FF2B5EF4-FFF2-40B4-BE49-F238E27FC236}">
                <a16:creationId xmlns:a16="http://schemas.microsoft.com/office/drawing/2014/main" id="{0B443068-013A-398D-3F3B-E3DE981B6D1C}"/>
              </a:ext>
            </a:extLst>
          </p:cNvPr>
          <p:cNvCxnSpPr/>
          <p:nvPr/>
        </p:nvCxnSpPr>
        <p:spPr>
          <a:xfrm>
            <a:off x="6862737" y="1405702"/>
            <a:ext cx="0" cy="140506"/>
          </a:xfrm>
          <a:prstGeom prst="straightConnector1">
            <a:avLst/>
          </a:prstGeom>
          <a:ln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sp>
        <p:nvSpPr>
          <p:cNvPr id="68" name="Rounded Rectangle 8">
            <a:extLst>
              <a:ext uri="{FF2B5EF4-FFF2-40B4-BE49-F238E27FC236}">
                <a16:creationId xmlns:a16="http://schemas.microsoft.com/office/drawing/2014/main" id="{650688EA-4B5D-9646-55AA-2E7DBDF90B1F}"/>
              </a:ext>
            </a:extLst>
          </p:cNvPr>
          <p:cNvSpPr/>
          <p:nvPr/>
        </p:nvSpPr>
        <p:spPr>
          <a:xfrm>
            <a:off x="9973296" y="2365193"/>
            <a:ext cx="1792194" cy="1639871"/>
          </a:xfrm>
          <a:prstGeom prst="roundRect">
            <a:avLst/>
          </a:prstGeom>
          <a:solidFill>
            <a:schemeClr val="bg1"/>
          </a:solid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100% in </a:t>
            </a:r>
            <a:r>
              <a:rPr kumimoji="0" lang="en-US" sz="1000" b="1" i="0" u="none" strike="noStrike" kern="0" cap="none" spc="0" normalizeH="0" baseline="0" noProof="0" err="1">
                <a:ln>
                  <a:noFill/>
                </a:ln>
                <a:solidFill>
                  <a:srgbClr val="0032A0"/>
                </a:solidFill>
                <a:effectLst/>
                <a:uLnTx/>
                <a:uFillTx/>
                <a:latin typeface="The Wave Sans TT"/>
                <a:ea typeface="+mn-ea"/>
                <a:cs typeface="+mn-cs"/>
              </a:rPr>
              <a:t>Elpedison</a:t>
            </a:r>
            <a:r>
              <a:rPr lang="en-US" sz="1000" kern="0" baseline="30000">
                <a:solidFill>
                  <a:srgbClr val="0032A0"/>
                </a:solidFill>
                <a:latin typeface="The Wave Sans TT"/>
              </a:rPr>
              <a:t>1</a:t>
            </a:r>
            <a:endParaRPr kumimoji="0" lang="en-US" sz="1000" i="0" u="none" strike="noStrike" kern="0" cap="none" spc="0" normalizeH="0" baseline="30000" noProof="0">
              <a:ln>
                <a:noFill/>
              </a:ln>
              <a:solidFill>
                <a:srgbClr val="0032A0"/>
              </a:solidFill>
              <a:effectLst/>
              <a:uLnTx/>
              <a:uFillTx/>
              <a:latin typeface="The Wave Sans TT"/>
              <a:ea typeface="+mn-ea"/>
              <a:cs typeface="+mn-cs"/>
            </a:endParaRP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0032A0"/>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852 MW </a:t>
            </a:r>
            <a:r>
              <a:rPr kumimoji="0" lang="en-US" sz="1000" b="0" i="0" u="none" strike="noStrike" kern="0" cap="none" spc="0" normalizeH="0" baseline="0" noProof="0">
                <a:ln>
                  <a:noFill/>
                </a:ln>
                <a:solidFill>
                  <a:srgbClr val="373737"/>
                </a:solidFill>
                <a:effectLst/>
                <a:uLnTx/>
                <a:uFillTx/>
                <a:latin typeface="The Wave Sans TT"/>
                <a:ea typeface="+mn-ea"/>
                <a:cs typeface="+mn-cs"/>
              </a:rPr>
              <a:t>CCGT capac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gt;6%</a:t>
            </a:r>
            <a:r>
              <a:rPr kumimoji="0" lang="en-US" sz="1000" b="0" i="0" u="none" strike="noStrike" kern="0" cap="none" spc="0" normalizeH="0" baseline="0" noProof="0">
                <a:ln>
                  <a:noFill/>
                </a:ln>
                <a:solidFill>
                  <a:srgbClr val="0032A0"/>
                </a:solidFill>
                <a:effectLst/>
                <a:uLnTx/>
                <a:uFillTx/>
                <a:latin typeface="The Wave Sans TT"/>
                <a:ea typeface="+mn-ea"/>
                <a:cs typeface="+mn-cs"/>
              </a:rPr>
              <a:t> </a:t>
            </a:r>
            <a:r>
              <a:rPr kumimoji="0" lang="en-US" sz="1000" b="0" i="0" u="none" strike="noStrike" kern="0" cap="none" spc="0" normalizeH="0" baseline="0" noProof="0">
                <a:ln>
                  <a:noFill/>
                </a:ln>
                <a:solidFill>
                  <a:srgbClr val="373737"/>
                </a:solidFill>
                <a:effectLst/>
                <a:uLnTx/>
                <a:uFillTx/>
                <a:latin typeface="The Wave Sans TT"/>
                <a:ea typeface="+mn-ea"/>
                <a:cs typeface="+mn-cs"/>
              </a:rPr>
              <a:t>retail market sh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solidFill>
                <a:srgbClr val="373737"/>
              </a:solidFill>
              <a:effectLst/>
              <a:uLnTx/>
              <a:uFillTx/>
              <a:latin typeface="The Wave Sans T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0032A0"/>
                </a:solidFill>
                <a:effectLst/>
                <a:uLnTx/>
                <a:uFillTx/>
                <a:latin typeface="The Wave Sans TT"/>
                <a:ea typeface="+mn-ea"/>
                <a:cs typeface="+mn-cs"/>
              </a:rPr>
              <a:t>~3 TWh </a:t>
            </a:r>
            <a:r>
              <a:rPr kumimoji="0" lang="en-US" sz="1000" b="0" i="0" u="none" strike="noStrike" kern="0" cap="none" spc="0" normalizeH="0" baseline="0" noProof="0">
                <a:ln>
                  <a:noFill/>
                </a:ln>
                <a:solidFill>
                  <a:srgbClr val="373737"/>
                </a:solidFill>
                <a:effectLst/>
                <a:uLnTx/>
                <a:uFillTx/>
                <a:latin typeface="The Wave Sans TT"/>
                <a:ea typeface="+mn-ea"/>
                <a:cs typeface="+mn-cs"/>
              </a:rPr>
              <a:t>p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73737"/>
              </a:solidFill>
              <a:effectLst/>
              <a:uLnTx/>
              <a:uFillTx/>
              <a:latin typeface="The Wave Sans TT"/>
              <a:ea typeface="+mn-ea"/>
              <a:cs typeface="+mn-cs"/>
            </a:endParaRPr>
          </a:p>
        </p:txBody>
      </p:sp>
      <p:sp>
        <p:nvSpPr>
          <p:cNvPr id="2" name="Rectangle 1">
            <a:extLst>
              <a:ext uri="{FF2B5EF4-FFF2-40B4-BE49-F238E27FC236}">
                <a16:creationId xmlns:a16="http://schemas.microsoft.com/office/drawing/2014/main" id="{23099027-3001-2274-AC1F-D61745552BA2}"/>
              </a:ext>
            </a:extLst>
          </p:cNvPr>
          <p:cNvSpPr/>
          <p:nvPr/>
        </p:nvSpPr>
        <p:spPr>
          <a:xfrm>
            <a:off x="686560" y="6281843"/>
            <a:ext cx="7638307" cy="338554"/>
          </a:xfrm>
          <a:prstGeom prst="rect">
            <a:avLst/>
          </a:prstGeom>
        </p:spPr>
        <p:txBody>
          <a:bodyPr/>
          <a:lstStyle/>
          <a:p>
            <a:pPr lvl="0">
              <a:defRPr/>
            </a:pPr>
            <a:r>
              <a:rPr kumimoji="0" lang="en-US" sz="700" b="0" i="0" u="none" strike="noStrike" kern="1200" cap="none" spc="0" normalizeH="0" baseline="0" noProof="0">
                <a:ln>
                  <a:noFill/>
                </a:ln>
                <a:solidFill>
                  <a:srgbClr val="373737"/>
                </a:solidFill>
                <a:effectLst/>
                <a:uLnTx/>
                <a:uFillTx/>
                <a:latin typeface="The Wave Sans TT"/>
                <a:ea typeface="+mn-ea"/>
                <a:cs typeface="+mn-cs"/>
              </a:rPr>
              <a:t>Notes:  </a:t>
            </a:r>
            <a:r>
              <a:rPr kumimoji="0" lang="en-US" sz="700" b="0" i="0" u="none" strike="noStrike" kern="1200" cap="none" spc="0" normalizeH="0" baseline="30000" noProof="0">
                <a:ln>
                  <a:noFill/>
                </a:ln>
                <a:solidFill>
                  <a:srgbClr val="373737"/>
                </a:solidFill>
                <a:effectLst/>
                <a:uLnTx/>
                <a:uFillTx/>
                <a:latin typeface="The Wave Sans TT"/>
                <a:ea typeface="+mn-ea"/>
                <a:cs typeface="+mn-cs"/>
              </a:rPr>
              <a:t>1 </a:t>
            </a:r>
            <a:r>
              <a:rPr lang="en-US" sz="700">
                <a:solidFill>
                  <a:srgbClr val="373737"/>
                </a:solidFill>
                <a:latin typeface="The Wave Sans TT"/>
              </a:rPr>
              <a:t>Agreed to acquire the remaining </a:t>
            </a:r>
            <a:r>
              <a:rPr lang="en-US" sz="800" b="0" i="0">
                <a:solidFill>
                  <a:srgbClr val="373737"/>
                </a:solidFill>
                <a:effectLst/>
                <a:latin typeface="TheWaveSans"/>
              </a:rPr>
              <a:t>50% of the share capital of Elpedison - transaction </a:t>
            </a:r>
            <a:r>
              <a:rPr lang="en-US" sz="800">
                <a:solidFill>
                  <a:srgbClr val="373737"/>
                </a:solidFill>
                <a:latin typeface="TheWaveSans"/>
              </a:rPr>
              <a:t>expected to be completed in 3Q25</a:t>
            </a:r>
            <a:endParaRPr kumimoji="0" lang="en-US" sz="700" b="0" i="0" u="none" strike="noStrike" kern="1200" cap="none" spc="0" normalizeH="0" baseline="0" noProof="0">
              <a:ln>
                <a:noFill/>
              </a:ln>
              <a:solidFill>
                <a:srgbClr val="373737"/>
              </a:solidFill>
              <a:effectLst/>
              <a:highlight>
                <a:srgbClr val="FFFF00"/>
              </a:highlight>
              <a:uLnTx/>
              <a:uFillTx/>
              <a:latin typeface="The Wave Sans TT"/>
              <a:ea typeface="+mn-ea"/>
              <a:cs typeface="+mn-cs"/>
            </a:endParaRPr>
          </a:p>
        </p:txBody>
      </p:sp>
      <p:sp>
        <p:nvSpPr>
          <p:cNvPr id="10" name="Slide Number Placeholder 9">
            <a:extLst>
              <a:ext uri="{FF2B5EF4-FFF2-40B4-BE49-F238E27FC236}">
                <a16:creationId xmlns:a16="http://schemas.microsoft.com/office/drawing/2014/main" id="{6B54A022-F55E-955F-D6B9-3B8398F2C261}"/>
              </a:ext>
            </a:extLst>
          </p:cNvPr>
          <p:cNvSpPr>
            <a:spLocks noGrp="1"/>
          </p:cNvSpPr>
          <p:nvPr>
            <p:ph type="sldNum" sz="quarter" idx="12"/>
          </p:nvPr>
        </p:nvSpPr>
        <p:spPr/>
        <p:txBody>
          <a:bodyPr/>
          <a:lstStyle/>
          <a:p>
            <a:fld id="{4531D9DC-ADF0-4D0A-8902-0133E3C6D94B}" type="slidenum">
              <a:rPr lang="en-US" smtClean="0"/>
              <a:pPr/>
              <a:t>36</a:t>
            </a:fld>
            <a:endParaRPr lang="en-US"/>
          </a:p>
        </p:txBody>
      </p:sp>
      <p:sp>
        <p:nvSpPr>
          <p:cNvPr id="5" name="Rounded Rectangle 8">
            <a:extLst>
              <a:ext uri="{FF2B5EF4-FFF2-40B4-BE49-F238E27FC236}">
                <a16:creationId xmlns:a16="http://schemas.microsoft.com/office/drawing/2014/main" id="{6C33FD30-2AF4-9E23-C037-203D493351C5}"/>
              </a:ext>
            </a:extLst>
          </p:cNvPr>
          <p:cNvSpPr/>
          <p:nvPr/>
        </p:nvSpPr>
        <p:spPr>
          <a:xfrm>
            <a:off x="8165829" y="4369438"/>
            <a:ext cx="1741926" cy="602561"/>
          </a:xfrm>
          <a:prstGeom prst="roundRect">
            <a:avLst/>
          </a:prstGeom>
          <a:no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0">
                <a:latin typeface="The Wave Sans TT"/>
              </a:rPr>
              <a:t>Developing a leading e-mobility platform</a:t>
            </a:r>
            <a:endParaRPr kumimoji="0" lang="en-US" sz="1000" b="0" i="0" u="none" strike="noStrike" kern="0" cap="none" spc="0" normalizeH="0" baseline="0" noProof="0">
              <a:ln>
                <a:noFill/>
              </a:ln>
              <a:effectLst/>
              <a:uLnTx/>
              <a:uFillTx/>
              <a:latin typeface="The Wave Sans TT"/>
              <a:ea typeface="+mn-ea"/>
              <a:cs typeface="+mn-cs"/>
            </a:endParaRPr>
          </a:p>
        </p:txBody>
      </p:sp>
      <p:sp>
        <p:nvSpPr>
          <p:cNvPr id="6" name="Rectangle: Rounded Corners 5">
            <a:extLst>
              <a:ext uri="{FF2B5EF4-FFF2-40B4-BE49-F238E27FC236}">
                <a16:creationId xmlns:a16="http://schemas.microsoft.com/office/drawing/2014/main" id="{BCE2572C-FCC4-3D66-ECFC-747CE17D868A}"/>
              </a:ext>
            </a:extLst>
          </p:cNvPr>
          <p:cNvSpPr/>
          <p:nvPr/>
        </p:nvSpPr>
        <p:spPr>
          <a:xfrm>
            <a:off x="8344123" y="4050143"/>
            <a:ext cx="1377018" cy="222310"/>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200" b="1" kern="0">
                <a:solidFill>
                  <a:srgbClr val="0032A0"/>
                </a:solidFill>
                <a:latin typeface="The Wave Sans TT"/>
              </a:rPr>
              <a:t>E-mobility</a:t>
            </a:r>
            <a:endParaRPr kumimoji="0" lang="en-US" sz="1100" b="0" i="0" u="none" strike="noStrike" kern="0" cap="none" spc="0" normalizeH="0" baseline="0" noProof="0">
              <a:ln>
                <a:noFill/>
              </a:ln>
              <a:solidFill>
                <a:srgbClr val="7F7F7F"/>
              </a:solidFill>
              <a:effectLst/>
              <a:uLnTx/>
              <a:uFillTx/>
              <a:latin typeface="The Wave Sans TT"/>
              <a:ea typeface="+mn-ea"/>
              <a:cs typeface="+mn-cs"/>
            </a:endParaRPr>
          </a:p>
        </p:txBody>
      </p:sp>
      <p:sp>
        <p:nvSpPr>
          <p:cNvPr id="8" name="Rounded Rectangle 8">
            <a:extLst>
              <a:ext uri="{FF2B5EF4-FFF2-40B4-BE49-F238E27FC236}">
                <a16:creationId xmlns:a16="http://schemas.microsoft.com/office/drawing/2014/main" id="{62338547-60E3-5CDE-4A1C-40568414CF69}"/>
              </a:ext>
            </a:extLst>
          </p:cNvPr>
          <p:cNvSpPr/>
          <p:nvPr/>
        </p:nvSpPr>
        <p:spPr>
          <a:xfrm>
            <a:off x="9955963" y="4369438"/>
            <a:ext cx="1792194" cy="616253"/>
          </a:xfrm>
          <a:prstGeom prst="roundRect">
            <a:avLst/>
          </a:prstGeom>
          <a:solidFill>
            <a:schemeClr val="bg1"/>
          </a:solidFill>
          <a:ln w="12700" cap="flat" cmpd="sng" algn="ctr">
            <a:solidFill>
              <a:schemeClr val="accent3"/>
            </a:solidFill>
            <a:prstDash val="solid"/>
            <a:miter lim="800000"/>
          </a:ln>
          <a:effectLst/>
        </p:spPr>
        <p:txBody>
          <a:bodyPr lIns="108000" tIns="72000" rIns="108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u="none" strike="noStrike" kern="0" cap="none" spc="0" normalizeH="0" baseline="0" noProof="0">
                <a:ln>
                  <a:noFill/>
                </a:ln>
                <a:solidFill>
                  <a:srgbClr val="373737"/>
                </a:solidFill>
                <a:effectLst/>
                <a:uLnTx/>
                <a:uFillTx/>
                <a:latin typeface="The Wave Sans TT"/>
                <a:ea typeface="+mn-ea"/>
                <a:cs typeface="+mn-cs"/>
              </a:rPr>
              <a:t>Divested from DEPA </a:t>
            </a:r>
            <a:r>
              <a:rPr lang="en-US" sz="1000" kern="0">
                <a:solidFill>
                  <a:srgbClr val="373737"/>
                </a:solidFill>
                <a:latin typeface="The Wave Sans TT"/>
              </a:rPr>
              <a:t>Commercial in Dec 2024</a:t>
            </a:r>
          </a:p>
        </p:txBody>
      </p:sp>
      <p:sp>
        <p:nvSpPr>
          <p:cNvPr id="11" name="Rectangle: Rounded Corners 10">
            <a:extLst>
              <a:ext uri="{FF2B5EF4-FFF2-40B4-BE49-F238E27FC236}">
                <a16:creationId xmlns:a16="http://schemas.microsoft.com/office/drawing/2014/main" id="{119D672A-CF98-2EF6-980D-8E78CAE6EAE1}"/>
              </a:ext>
            </a:extLst>
          </p:cNvPr>
          <p:cNvSpPr/>
          <p:nvPr/>
        </p:nvSpPr>
        <p:spPr>
          <a:xfrm>
            <a:off x="10171712" y="4051450"/>
            <a:ext cx="1377018" cy="222310"/>
          </a:xfrm>
          <a:prstGeom prst="roundRect">
            <a:avLst/>
          </a:prstGeom>
          <a:noFill/>
          <a:ln w="12700" cap="flat" cmpd="sng" algn="ctr">
            <a:noFill/>
            <a:prstDash val="solid"/>
            <a:miter lim="800000"/>
          </a:ln>
          <a:effectLst/>
        </p:spPr>
        <p:txBody>
          <a:bodyPr lIns="108000" tIns="72000" rIns="108000" bIns="72000" rtlCol="0" anchor="t"/>
          <a:lstStyle/>
          <a:p>
            <a:pPr marL="0" marR="0" lvl="0" indent="0" algn="ctr" defTabSz="914400" rtl="0" eaLnBrk="1" fontAlgn="auto" latinLnBrk="0" hangingPunct="1">
              <a:lnSpc>
                <a:spcPct val="114000"/>
              </a:lnSpc>
              <a:spcBef>
                <a:spcPts val="0"/>
              </a:spcBef>
              <a:spcAft>
                <a:spcPts val="0"/>
              </a:spcAft>
              <a:buClrTx/>
              <a:buSzTx/>
              <a:buFontTx/>
              <a:buNone/>
              <a:tabLst/>
              <a:defRPr/>
            </a:pPr>
            <a:r>
              <a:rPr lang="en-US" sz="1200" b="1" kern="0">
                <a:solidFill>
                  <a:srgbClr val="0032A0"/>
                </a:solidFill>
                <a:latin typeface="The Wave Sans TT"/>
              </a:rPr>
              <a:t>Non-core assets</a:t>
            </a:r>
            <a:endParaRPr kumimoji="0" lang="en-US" sz="1100" b="0" i="0" u="none" strike="noStrike" kern="0" cap="none" spc="0" normalizeH="0" baseline="0" noProof="0">
              <a:ln>
                <a:noFill/>
              </a:ln>
              <a:solidFill>
                <a:srgbClr val="7F7F7F"/>
              </a:solidFill>
              <a:effectLst/>
              <a:uLnTx/>
              <a:uFillTx/>
              <a:latin typeface="The Wave Sans TT"/>
              <a:ea typeface="+mn-ea"/>
              <a:cs typeface="+mn-cs"/>
            </a:endParaRPr>
          </a:p>
        </p:txBody>
      </p:sp>
    </p:spTree>
    <p:custDataLst>
      <p:tags r:id="rId1"/>
    </p:custDataLst>
    <p:extLst>
      <p:ext uri="{BB962C8B-B14F-4D97-AF65-F5344CB8AC3E}">
        <p14:creationId xmlns:p14="http://schemas.microsoft.com/office/powerpoint/2010/main" val="2556595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F58ED2-C925-A4A9-FB8A-69E46026D364}"/>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0DC09E-EFAA-5126-B526-ECFCAF47FF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6" name="Object 5" hidden="1">
                        <a:extLst>
                          <a:ext uri="{FF2B5EF4-FFF2-40B4-BE49-F238E27FC236}">
                            <a16:creationId xmlns:a16="http://schemas.microsoft.com/office/drawing/2014/main" id="{BD0DC09E-EFAA-5126-B526-ECFCAF47FF6C}"/>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5764213A-2C16-EB6E-CE91-C02501E5F3CF}"/>
              </a:ext>
            </a:extLst>
          </p:cNvPr>
          <p:cNvSpPr>
            <a:spLocks/>
          </p:cNvSpPr>
          <p:nvPr/>
        </p:nvSpPr>
        <p:spPr>
          <a:xfrm>
            <a:off x="4569694" y="1032529"/>
            <a:ext cx="2967731" cy="596272"/>
          </a:xfrm>
          <a:prstGeom prst="roundRect">
            <a:avLst>
              <a:gd name="adj" fmla="val 12486"/>
            </a:avLst>
          </a:prstGeom>
          <a:solidFill>
            <a:schemeClr val="lt1">
              <a:alpha val="0"/>
            </a:schemeClr>
          </a:solidFill>
          <a:ln w="6350">
            <a:solidFill>
              <a:schemeClr val="accent1"/>
            </a:solidFill>
          </a:ln>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700" b="1">
              <a:solidFill>
                <a:srgbClr val="FFFFFF"/>
              </a:solidFill>
            </a:endParaRPr>
          </a:p>
        </p:txBody>
      </p:sp>
      <p:sp>
        <p:nvSpPr>
          <p:cNvPr id="151" name="Title 2">
            <a:extLst>
              <a:ext uri="{FF2B5EF4-FFF2-40B4-BE49-F238E27FC236}">
                <a16:creationId xmlns:a16="http://schemas.microsoft.com/office/drawing/2014/main" id="{7D17E586-E4C2-7F5E-C626-FFA62ECCB2D9}"/>
              </a:ext>
            </a:extLst>
          </p:cNvPr>
          <p:cNvSpPr>
            <a:spLocks noGrp="1"/>
          </p:cNvSpPr>
          <p:nvPr>
            <p:ph type="title"/>
          </p:nvPr>
        </p:nvSpPr>
        <p:spPr>
          <a:xfrm>
            <a:off x="443372" y="379660"/>
            <a:ext cx="11305716" cy="307777"/>
          </a:xfrm>
        </p:spPr>
        <p:txBody>
          <a:bodyPr vert="horz"/>
          <a:lstStyle/>
          <a:p>
            <a:pPr lvl="0">
              <a:defRPr/>
            </a:pPr>
            <a:r>
              <a:rPr lang="en-US" sz="2000">
                <a:solidFill>
                  <a:srgbClr val="0032A0"/>
                </a:solidFill>
              </a:rPr>
              <a:t>Fit-for-purpose flexible corporate structure</a:t>
            </a:r>
            <a:endParaRPr lang="en-US" sz="1600">
              <a:solidFill>
                <a:srgbClr val="7F7F7F"/>
              </a:solidFill>
            </a:endParaRPr>
          </a:p>
        </p:txBody>
      </p:sp>
      <p:sp>
        <p:nvSpPr>
          <p:cNvPr id="102" name="Rectangle: Rounded Corners 101">
            <a:extLst>
              <a:ext uri="{FF2B5EF4-FFF2-40B4-BE49-F238E27FC236}">
                <a16:creationId xmlns:a16="http://schemas.microsoft.com/office/drawing/2014/main" id="{02BF563C-9946-CCD5-F9BE-BEF575CA6E18}"/>
              </a:ext>
            </a:extLst>
          </p:cNvPr>
          <p:cNvSpPr>
            <a:spLocks/>
          </p:cNvSpPr>
          <p:nvPr/>
        </p:nvSpPr>
        <p:spPr>
          <a:xfrm>
            <a:off x="4569694" y="1779789"/>
            <a:ext cx="2967731" cy="703343"/>
          </a:xfrm>
          <a:prstGeom prst="roundRect">
            <a:avLst>
              <a:gd name="adj" fmla="val 12486"/>
            </a:avLst>
          </a:prstGeom>
          <a:solidFill>
            <a:schemeClr val="lt1">
              <a:alpha val="0"/>
            </a:schemeClr>
          </a:solidFill>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700" b="1">
              <a:solidFill>
                <a:srgbClr val="FFFFFF"/>
              </a:solidFill>
            </a:endParaRPr>
          </a:p>
        </p:txBody>
      </p:sp>
      <p:sp>
        <p:nvSpPr>
          <p:cNvPr id="54" name="Rectangle: Rounded Corners 53">
            <a:extLst>
              <a:ext uri="{FF2B5EF4-FFF2-40B4-BE49-F238E27FC236}">
                <a16:creationId xmlns:a16="http://schemas.microsoft.com/office/drawing/2014/main" id="{84116BE2-001E-A21D-A466-353147DAAB5B}"/>
              </a:ext>
            </a:extLst>
          </p:cNvPr>
          <p:cNvSpPr>
            <a:spLocks/>
          </p:cNvSpPr>
          <p:nvPr/>
        </p:nvSpPr>
        <p:spPr>
          <a:xfrm>
            <a:off x="7728180" y="1779787"/>
            <a:ext cx="1421257" cy="703343"/>
          </a:xfrm>
          <a:prstGeom prst="roundRect">
            <a:avLst>
              <a:gd name="adj" fmla="val 12486"/>
            </a:avLst>
          </a:prstGeom>
          <a:solidFill>
            <a:schemeClr val="bg1"/>
          </a:solidFill>
          <a:ln w="158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36533" tIns="109226" rIns="136533" bIns="109226" rtlCol="0" anchor="t">
            <a:noAutofit/>
          </a:bodyPr>
          <a:lstStyle/>
          <a:p>
            <a:pPr algn="ctr" defTabSz="1638217">
              <a:lnSpc>
                <a:spcPts val="3186"/>
              </a:lnSpc>
              <a:tabLst>
                <a:tab pos="546120" algn="l"/>
              </a:tabLst>
              <a:defRPr/>
            </a:pPr>
            <a:endParaRPr lang="en-US" sz="1000" b="1">
              <a:solidFill>
                <a:schemeClr val="accent1"/>
              </a:solidFill>
            </a:endParaRPr>
          </a:p>
        </p:txBody>
      </p:sp>
      <p:sp>
        <p:nvSpPr>
          <p:cNvPr id="56" name="TextBox 30">
            <a:extLst>
              <a:ext uri="{FF2B5EF4-FFF2-40B4-BE49-F238E27FC236}">
                <a16:creationId xmlns:a16="http://schemas.microsoft.com/office/drawing/2014/main" id="{C2B18471-2A71-068E-D38E-C85F2581F859}"/>
              </a:ext>
            </a:extLst>
          </p:cNvPr>
          <p:cNvSpPr txBox="1">
            <a:spLocks/>
          </p:cNvSpPr>
          <p:nvPr>
            <p:custDataLst>
              <p:tags r:id="rId2"/>
            </p:custDataLst>
          </p:nvPr>
        </p:nvSpPr>
        <p:spPr>
          <a:xfrm>
            <a:off x="7866364" y="1981713"/>
            <a:ext cx="1212873" cy="307172"/>
          </a:xfrm>
          <a:prstGeom prst="rect">
            <a:avLst/>
          </a:prstGeom>
          <a:ln>
            <a:noFill/>
          </a:ln>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1227490">
              <a:spcBef>
                <a:spcPct val="0"/>
              </a:spcBef>
              <a:spcAft>
                <a:spcPct val="0"/>
              </a:spcAft>
              <a:buClr>
                <a:schemeClr val="bg1"/>
              </a:buClr>
              <a:buSzPct val="100000"/>
              <a:buNone/>
              <a:defRPr/>
            </a:pPr>
            <a:r>
              <a:rPr lang="en-US" sz="1000"/>
              <a:t>Specialist Group</a:t>
            </a:r>
          </a:p>
          <a:p>
            <a:pPr defTabSz="1227490">
              <a:spcBef>
                <a:spcPct val="0"/>
              </a:spcBef>
              <a:spcAft>
                <a:spcPct val="0"/>
              </a:spcAft>
              <a:buClr>
                <a:schemeClr val="bg1"/>
              </a:buClr>
              <a:buSzPct val="100000"/>
              <a:buNone/>
              <a:defRPr/>
            </a:pPr>
            <a:r>
              <a:rPr lang="en-US" sz="1000"/>
              <a:t>Servicing Companies</a:t>
            </a:r>
            <a:endParaRPr lang="en-US" sz="1050"/>
          </a:p>
        </p:txBody>
      </p:sp>
      <p:cxnSp>
        <p:nvCxnSpPr>
          <p:cNvPr id="57" name="Gerade Verbindung 120">
            <a:extLst>
              <a:ext uri="{FF2B5EF4-FFF2-40B4-BE49-F238E27FC236}">
                <a16:creationId xmlns:a16="http://schemas.microsoft.com/office/drawing/2014/main" id="{7A542FF8-00DD-62EF-21BC-DCD644D8E19D}"/>
              </a:ext>
            </a:extLst>
          </p:cNvPr>
          <p:cNvCxnSpPr>
            <a:cxnSpLocks/>
            <a:stCxn id="54" idx="1"/>
            <a:endCxn id="102" idx="3"/>
          </p:cNvCxnSpPr>
          <p:nvPr/>
        </p:nvCxnSpPr>
        <p:spPr>
          <a:xfrm flipH="1">
            <a:off x="7537425" y="2131459"/>
            <a:ext cx="190755" cy="2"/>
          </a:xfrm>
          <a:prstGeom prst="straightConnector1">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0" name="Abgerundetes Rechteck 71">
            <a:extLst>
              <a:ext uri="{FF2B5EF4-FFF2-40B4-BE49-F238E27FC236}">
                <a16:creationId xmlns:a16="http://schemas.microsoft.com/office/drawing/2014/main" id="{7F1A690C-AB2C-9230-4014-BED3B66435EC}"/>
              </a:ext>
            </a:extLst>
          </p:cNvPr>
          <p:cNvSpPr/>
          <p:nvPr/>
        </p:nvSpPr>
        <p:spPr>
          <a:xfrm>
            <a:off x="4658519" y="1973685"/>
            <a:ext cx="2903908" cy="360046"/>
          </a:xfrm>
          <a:prstGeom prst="roundRect">
            <a:avLst>
              <a:gd name="adj" fmla="val 50000"/>
            </a:avLst>
          </a:prstGeom>
          <a:noFill/>
          <a:ln w="19685">
            <a:noFill/>
          </a:ln>
        </p:spPr>
        <p:style>
          <a:lnRef idx="2">
            <a:schemeClr val="accent1">
              <a:shade val="50000"/>
            </a:schemeClr>
          </a:lnRef>
          <a:fillRef idx="1">
            <a:schemeClr val="accent1"/>
          </a:fillRef>
          <a:effectRef idx="0">
            <a:schemeClr val="accent1"/>
          </a:effectRef>
          <a:fontRef idx="minor">
            <a:schemeClr val="lt1"/>
          </a:fontRef>
        </p:style>
        <p:txBody>
          <a:bodyPr lIns="136533" tIns="109226" rIns="136533" bIns="109226" rtlCol="0" anchor="t">
            <a:noAutofit/>
          </a:bodyPr>
          <a:lstStyle/>
          <a:p>
            <a:pPr algn="ctr" defTabSz="1638217">
              <a:lnSpc>
                <a:spcPts val="3186"/>
              </a:lnSpc>
              <a:tabLst>
                <a:tab pos="546120" algn="l"/>
              </a:tabLst>
              <a:defRPr/>
            </a:pPr>
            <a:r>
              <a:rPr lang="de-DE" sz="1050" b="1">
                <a:solidFill>
                  <a:schemeClr val="bg1"/>
                </a:solidFill>
              </a:rPr>
              <a:t>   </a:t>
            </a:r>
          </a:p>
        </p:txBody>
      </p:sp>
      <p:sp>
        <p:nvSpPr>
          <p:cNvPr id="71" name="TextBox 70">
            <a:extLst>
              <a:ext uri="{FF2B5EF4-FFF2-40B4-BE49-F238E27FC236}">
                <a16:creationId xmlns:a16="http://schemas.microsoft.com/office/drawing/2014/main" id="{9BD7A5C7-CC39-9155-486A-A5A437133265}"/>
              </a:ext>
            </a:extLst>
          </p:cNvPr>
          <p:cNvSpPr txBox="1"/>
          <p:nvPr/>
        </p:nvSpPr>
        <p:spPr>
          <a:xfrm>
            <a:off x="4770361" y="1934881"/>
            <a:ext cx="2680221" cy="415498"/>
          </a:xfrm>
          <a:prstGeom prst="rect">
            <a:avLst/>
          </a:prstGeom>
          <a:ln>
            <a:noFill/>
          </a:ln>
        </p:spPr>
        <p:txBody>
          <a:bodyPr vert="horz" wrap="none" lIns="0" tIns="0" rIns="0" bIns="0" rtlCol="0" anchor="ctr" anchorCtr="0">
            <a:spAutoFit/>
          </a:bodyPr>
          <a:lstStyle>
            <a:lvl1pPr lvl="0" indent="0" defTabSz="671473" fontAlgn="base">
              <a:spcBef>
                <a:spcPct val="0"/>
              </a:spcBef>
              <a:spcAft>
                <a:spcPct val="0"/>
              </a:spcAft>
              <a:buClr>
                <a:schemeClr val="tx2"/>
              </a:buClr>
              <a:buSzPct val="100000"/>
              <a:defRPr lang="x-none" sz="1200" baseline="0"/>
            </a:lvl1pPr>
            <a:lvl2pPr marL="145247" lvl="1" indent="-144057" defTabSz="671473" fontAlgn="base">
              <a:spcBef>
                <a:spcPct val="0"/>
              </a:spcBef>
              <a:spcAft>
                <a:spcPct val="0"/>
              </a:spcAft>
              <a:buClr>
                <a:schemeClr val="tx2"/>
              </a:buClr>
              <a:buSzPct val="125000"/>
              <a:buFont typeface="Arial" panose="020B0604020202020204" pitchFamily="34" charset="0"/>
              <a:buChar char="▪"/>
              <a:defRPr lang="x-none" sz="1200" baseline="0"/>
            </a:lvl2pPr>
            <a:lvl3pPr marL="342880" lvl="2" indent="-196442" defTabSz="671473" fontAlgn="base">
              <a:spcBef>
                <a:spcPct val="0"/>
              </a:spcBef>
              <a:spcAft>
                <a:spcPct val="0"/>
              </a:spcAft>
              <a:buClr>
                <a:schemeClr val="tx2"/>
              </a:buClr>
              <a:buSzPct val="120000"/>
              <a:buFont typeface="Arial" panose="020B0604020202020204" pitchFamily="34" charset="0"/>
              <a:buChar char="–"/>
              <a:defRPr lang="x-none" sz="1200" baseline="0"/>
            </a:lvl3pPr>
            <a:lvl4pPr marL="460744" lvl="3" indent="-116674" defTabSz="671473" fontAlgn="base">
              <a:spcBef>
                <a:spcPct val="0"/>
              </a:spcBef>
              <a:spcAft>
                <a:spcPct val="0"/>
              </a:spcAft>
              <a:buClr>
                <a:schemeClr val="tx2"/>
              </a:buClr>
              <a:buSzPct val="120000"/>
              <a:buFont typeface="Arial" panose="020B0604020202020204" pitchFamily="34" charset="0"/>
              <a:buChar char="▫"/>
              <a:defRPr lang="x-none" sz="1200" baseline="0"/>
            </a:lvl4pPr>
            <a:lvl5pPr marL="562323" lvl="4" indent="-97626" defTabSz="671473" fontAlgn="base">
              <a:spcBef>
                <a:spcPct val="0"/>
              </a:spcBef>
              <a:spcAft>
                <a:spcPct val="0"/>
              </a:spcAft>
              <a:buClr>
                <a:schemeClr val="tx2"/>
              </a:buClr>
              <a:buSzPct val="89000"/>
              <a:buFont typeface="Arial" panose="020B0604020202020204" pitchFamily="34" charset="0"/>
              <a:buChar char="-"/>
              <a:defRPr lang="x-none" sz="1200" baseline="0"/>
            </a:lvl5pPr>
            <a:lvl6pPr marL="562323" indent="-97626" defTabSz="671473" fontAlgn="base">
              <a:spcBef>
                <a:spcPct val="0"/>
              </a:spcBef>
              <a:spcAft>
                <a:spcPct val="0"/>
              </a:spcAft>
              <a:buClr>
                <a:schemeClr val="tx2"/>
              </a:buClr>
              <a:buSzPct val="89000"/>
              <a:buFont typeface="Arial" charset="0"/>
              <a:buChar char="-"/>
              <a:defRPr lang="x-none" sz="1200" baseline="0"/>
            </a:lvl6pPr>
            <a:lvl7pPr marL="562323" indent="-97626" defTabSz="671473" fontAlgn="base">
              <a:spcBef>
                <a:spcPct val="0"/>
              </a:spcBef>
              <a:spcAft>
                <a:spcPct val="0"/>
              </a:spcAft>
              <a:buClr>
                <a:schemeClr val="tx2"/>
              </a:buClr>
              <a:buSzPct val="89000"/>
              <a:buFont typeface="Arial" charset="0"/>
              <a:buChar char="-"/>
              <a:defRPr lang="x-none" sz="1200" baseline="0"/>
            </a:lvl7pPr>
            <a:lvl8pPr marL="562323" indent="-97626" defTabSz="671473" fontAlgn="base">
              <a:spcBef>
                <a:spcPct val="0"/>
              </a:spcBef>
              <a:spcAft>
                <a:spcPct val="0"/>
              </a:spcAft>
              <a:buClr>
                <a:schemeClr val="tx2"/>
              </a:buClr>
              <a:buSzPct val="89000"/>
              <a:buFont typeface="Arial" charset="0"/>
              <a:buChar char="-"/>
              <a:defRPr lang="x-none" sz="1200" baseline="0"/>
            </a:lvl8pPr>
            <a:lvl9pPr marL="562323" indent="-97626" defTabSz="671473" fontAlgn="base">
              <a:spcBef>
                <a:spcPct val="0"/>
              </a:spcBef>
              <a:spcAft>
                <a:spcPct val="0"/>
              </a:spcAft>
              <a:buClr>
                <a:schemeClr val="tx2"/>
              </a:buClr>
              <a:buSzPct val="89000"/>
              <a:buFont typeface="Arial" charset="0"/>
              <a:buChar char="-"/>
              <a:defRPr lang="x-none" sz="1200" baseline="0"/>
            </a:lvl9pPr>
          </a:lstStyle>
          <a:p>
            <a:pPr algn="ctr" defTabSz="1018625">
              <a:buClr>
                <a:srgbClr val="239F9E"/>
              </a:buClr>
              <a:defRPr/>
            </a:pPr>
            <a:r>
              <a:rPr lang="en-US" sz="1600" b="1">
                <a:solidFill>
                  <a:schemeClr val="accent1"/>
                </a:solidFill>
              </a:rPr>
              <a:t>HELLENiQ ENERGY Holdings</a:t>
            </a:r>
          </a:p>
          <a:p>
            <a:pPr algn="ctr" defTabSz="1018625">
              <a:buClr>
                <a:srgbClr val="239F9E"/>
              </a:buClr>
              <a:defRPr/>
            </a:pPr>
            <a:r>
              <a:rPr lang="en-US" sz="1100">
                <a:solidFill>
                  <a:schemeClr val="accent1"/>
                </a:solidFill>
              </a:rPr>
              <a:t>(ultimate Group parent, listed entity)</a:t>
            </a:r>
          </a:p>
        </p:txBody>
      </p:sp>
      <p:sp>
        <p:nvSpPr>
          <p:cNvPr id="74" name="Rectangle: Rounded Corners 73">
            <a:extLst>
              <a:ext uri="{FF2B5EF4-FFF2-40B4-BE49-F238E27FC236}">
                <a16:creationId xmlns:a16="http://schemas.microsoft.com/office/drawing/2014/main" id="{E43FD60F-D8A4-7586-BEC8-3FDB2C3D4547}"/>
              </a:ext>
            </a:extLst>
          </p:cNvPr>
          <p:cNvSpPr>
            <a:spLocks/>
          </p:cNvSpPr>
          <p:nvPr/>
        </p:nvSpPr>
        <p:spPr>
          <a:xfrm>
            <a:off x="5556908" y="3777912"/>
            <a:ext cx="1163589" cy="2234305"/>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000" b="1">
              <a:solidFill>
                <a:srgbClr val="FFFFFF"/>
              </a:solidFill>
            </a:endParaRPr>
          </a:p>
        </p:txBody>
      </p:sp>
      <p:sp>
        <p:nvSpPr>
          <p:cNvPr id="75" name="TextBox 30">
            <a:extLst>
              <a:ext uri="{FF2B5EF4-FFF2-40B4-BE49-F238E27FC236}">
                <a16:creationId xmlns:a16="http://schemas.microsoft.com/office/drawing/2014/main" id="{75905316-3DD7-5C04-CE0B-C4A496415D80}"/>
              </a:ext>
            </a:extLst>
          </p:cNvPr>
          <p:cNvSpPr txBox="1">
            <a:spLocks/>
          </p:cNvSpPr>
          <p:nvPr>
            <p:custDataLst>
              <p:tags r:id="rId3"/>
            </p:custDataLst>
          </p:nvPr>
        </p:nvSpPr>
        <p:spPr>
          <a:xfrm>
            <a:off x="5603524" y="4592342"/>
            <a:ext cx="1013894" cy="24071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1227490">
              <a:spcBef>
                <a:spcPct val="0"/>
              </a:spcBef>
              <a:spcAft>
                <a:spcPct val="0"/>
              </a:spcAft>
              <a:buClr>
                <a:srgbClr val="1F497D"/>
              </a:buClr>
              <a:buSzPct val="100000"/>
              <a:buNone/>
              <a:defRPr/>
            </a:pPr>
            <a:r>
              <a:rPr lang="en-US" sz="1000" b="1">
                <a:solidFill>
                  <a:schemeClr val="accent1"/>
                </a:solidFill>
              </a:rPr>
              <a:t>HELLENiQ UPSTREAM HOLDINGS S.A.</a:t>
            </a: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r>
              <a:rPr lang="en-US" sz="1000">
                <a:solidFill>
                  <a:schemeClr val="accent1"/>
                </a:solidFill>
              </a:rPr>
              <a:t>E&amp;P</a:t>
            </a:r>
          </a:p>
        </p:txBody>
      </p:sp>
      <p:sp>
        <p:nvSpPr>
          <p:cNvPr id="76" name="Rectangle: Rounded Corners 75">
            <a:extLst>
              <a:ext uri="{FF2B5EF4-FFF2-40B4-BE49-F238E27FC236}">
                <a16:creationId xmlns:a16="http://schemas.microsoft.com/office/drawing/2014/main" id="{B7B9C0AD-4DA5-5467-B6EB-DB173B4DF43C}"/>
              </a:ext>
            </a:extLst>
          </p:cNvPr>
          <p:cNvSpPr>
            <a:spLocks/>
          </p:cNvSpPr>
          <p:nvPr/>
        </p:nvSpPr>
        <p:spPr>
          <a:xfrm>
            <a:off x="1563015" y="3786982"/>
            <a:ext cx="1163589" cy="2234305"/>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100" b="1">
              <a:solidFill>
                <a:srgbClr val="FFFFFF"/>
              </a:solidFill>
            </a:endParaRPr>
          </a:p>
        </p:txBody>
      </p:sp>
      <p:sp>
        <p:nvSpPr>
          <p:cNvPr id="77" name="TextBox 30">
            <a:extLst>
              <a:ext uri="{FF2B5EF4-FFF2-40B4-BE49-F238E27FC236}">
                <a16:creationId xmlns:a16="http://schemas.microsoft.com/office/drawing/2014/main" id="{79546449-AB67-F8F8-A98D-75567D301035}"/>
              </a:ext>
            </a:extLst>
          </p:cNvPr>
          <p:cNvSpPr txBox="1">
            <a:spLocks/>
          </p:cNvSpPr>
          <p:nvPr>
            <p:custDataLst>
              <p:tags r:id="rId4"/>
            </p:custDataLst>
          </p:nvPr>
        </p:nvSpPr>
        <p:spPr>
          <a:xfrm>
            <a:off x="1616580" y="4581128"/>
            <a:ext cx="1056458" cy="96284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1227490">
              <a:spcBef>
                <a:spcPct val="0"/>
              </a:spcBef>
              <a:spcAft>
                <a:spcPct val="0"/>
              </a:spcAft>
              <a:buClr>
                <a:srgbClr val="1F497D"/>
              </a:buClr>
              <a:buSzPct val="100000"/>
              <a:buNone/>
              <a:defRPr/>
            </a:pPr>
            <a:r>
              <a:rPr lang="en-US" sz="1000" b="1">
                <a:solidFill>
                  <a:schemeClr val="accent1"/>
                </a:solidFill>
              </a:rPr>
              <a:t>HELLENiQ PETROLEUM</a:t>
            </a: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r>
              <a:rPr lang="en-US" sz="1000">
                <a:solidFill>
                  <a:schemeClr val="accent1"/>
                </a:solidFill>
              </a:rPr>
              <a:t>Refining, </a:t>
            </a:r>
            <a:br>
              <a:rPr lang="en-US" sz="1000">
                <a:solidFill>
                  <a:schemeClr val="accent1"/>
                </a:solidFill>
              </a:rPr>
            </a:br>
            <a:r>
              <a:rPr lang="en-US" sz="1000">
                <a:solidFill>
                  <a:schemeClr val="accent1"/>
                </a:solidFill>
              </a:rPr>
              <a:t>Supply &amp; Sales of Oil Products and </a:t>
            </a:r>
          </a:p>
          <a:p>
            <a:pPr algn="ctr" defTabSz="1227490">
              <a:spcBef>
                <a:spcPct val="0"/>
              </a:spcBef>
              <a:spcAft>
                <a:spcPct val="0"/>
              </a:spcAft>
              <a:buClr>
                <a:srgbClr val="1F497D"/>
              </a:buClr>
              <a:buSzPct val="100000"/>
              <a:buNone/>
              <a:defRPr/>
            </a:pPr>
            <a:r>
              <a:rPr lang="en-US" sz="1000">
                <a:solidFill>
                  <a:schemeClr val="accent1"/>
                </a:solidFill>
              </a:rPr>
              <a:t>Petrochemicals</a:t>
            </a:r>
          </a:p>
        </p:txBody>
      </p:sp>
      <p:sp>
        <p:nvSpPr>
          <p:cNvPr id="83" name="Rectangle: Rounded Corners 82">
            <a:extLst>
              <a:ext uri="{FF2B5EF4-FFF2-40B4-BE49-F238E27FC236}">
                <a16:creationId xmlns:a16="http://schemas.microsoft.com/office/drawing/2014/main" id="{1EE5E186-7E53-5B6E-141C-05CCC22719F0}"/>
              </a:ext>
            </a:extLst>
          </p:cNvPr>
          <p:cNvSpPr>
            <a:spLocks/>
          </p:cNvSpPr>
          <p:nvPr/>
        </p:nvSpPr>
        <p:spPr>
          <a:xfrm>
            <a:off x="2801877" y="3786983"/>
            <a:ext cx="1163589" cy="2234305"/>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000" b="1">
              <a:solidFill>
                <a:srgbClr val="FFFFFF"/>
              </a:solidFill>
            </a:endParaRPr>
          </a:p>
        </p:txBody>
      </p:sp>
      <p:sp>
        <p:nvSpPr>
          <p:cNvPr id="84" name="TextBox 30">
            <a:extLst>
              <a:ext uri="{FF2B5EF4-FFF2-40B4-BE49-F238E27FC236}">
                <a16:creationId xmlns:a16="http://schemas.microsoft.com/office/drawing/2014/main" id="{46C6CB0E-EFA4-E718-27CF-B5CE857B3492}"/>
              </a:ext>
            </a:extLst>
          </p:cNvPr>
          <p:cNvSpPr txBox="1">
            <a:spLocks/>
          </p:cNvSpPr>
          <p:nvPr>
            <p:custDataLst>
              <p:tags r:id="rId5"/>
            </p:custDataLst>
          </p:nvPr>
        </p:nvSpPr>
        <p:spPr>
          <a:xfrm>
            <a:off x="2812699" y="4581128"/>
            <a:ext cx="1160602" cy="722130"/>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1227490">
              <a:spcBef>
                <a:spcPct val="0"/>
              </a:spcBef>
              <a:spcAft>
                <a:spcPct val="0"/>
              </a:spcAft>
              <a:buClr>
                <a:srgbClr val="1F497D"/>
              </a:buClr>
              <a:buSzPct val="100000"/>
              <a:buNone/>
              <a:defRPr/>
            </a:pPr>
            <a:r>
              <a:rPr lang="en-US" sz="1000" b="1">
                <a:solidFill>
                  <a:schemeClr val="accent1"/>
                </a:solidFill>
              </a:rPr>
              <a:t>HELLENIC FUELS AND LUBRICANTS INDUSTRIAL AND COMMERCIAL S.A.</a:t>
            </a:r>
            <a:endParaRPr lang="en-US" sz="1000" b="1" spc="-61">
              <a:solidFill>
                <a:schemeClr val="accent1"/>
              </a:solidFill>
            </a:endParaRPr>
          </a:p>
          <a:p>
            <a:pPr algn="ctr" defTabSz="1227490">
              <a:spcBef>
                <a:spcPct val="0"/>
              </a:spcBef>
              <a:spcAft>
                <a:spcPct val="0"/>
              </a:spcAft>
              <a:buClr>
                <a:srgbClr val="1F497D"/>
              </a:buClr>
              <a:buSzPct val="100000"/>
              <a:buNone/>
              <a:defRPr/>
            </a:pPr>
            <a:endParaRPr lang="en-US" sz="1000" b="1" spc="-61">
              <a:solidFill>
                <a:schemeClr val="accent1"/>
              </a:solidFill>
            </a:endParaRPr>
          </a:p>
          <a:p>
            <a:pPr algn="ctr" defTabSz="1227490">
              <a:spcBef>
                <a:spcPct val="0"/>
              </a:spcBef>
              <a:spcAft>
                <a:spcPct val="0"/>
              </a:spcAft>
              <a:buClr>
                <a:srgbClr val="1F497D"/>
              </a:buClr>
              <a:buSzPct val="100000"/>
              <a:buNone/>
              <a:defRPr/>
            </a:pPr>
            <a:r>
              <a:rPr lang="en-US" sz="1000" spc="-61">
                <a:solidFill>
                  <a:schemeClr val="accent1"/>
                </a:solidFill>
              </a:rPr>
              <a:t>Domestic Marketing</a:t>
            </a:r>
          </a:p>
        </p:txBody>
      </p:sp>
      <p:sp>
        <p:nvSpPr>
          <p:cNvPr id="85" name="Rectangle: Rounded Corners 84">
            <a:extLst>
              <a:ext uri="{FF2B5EF4-FFF2-40B4-BE49-F238E27FC236}">
                <a16:creationId xmlns:a16="http://schemas.microsoft.com/office/drawing/2014/main" id="{15DBEEC4-8B77-66E6-4C6C-441659994E39}"/>
              </a:ext>
            </a:extLst>
          </p:cNvPr>
          <p:cNvSpPr>
            <a:spLocks/>
          </p:cNvSpPr>
          <p:nvPr/>
        </p:nvSpPr>
        <p:spPr>
          <a:xfrm>
            <a:off x="4034262" y="3786982"/>
            <a:ext cx="1213858" cy="2234305"/>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000" b="1">
              <a:solidFill>
                <a:srgbClr val="FFFFFF"/>
              </a:solidFill>
            </a:endParaRPr>
          </a:p>
        </p:txBody>
      </p:sp>
      <p:sp>
        <p:nvSpPr>
          <p:cNvPr id="86" name="TextBox 30">
            <a:extLst>
              <a:ext uri="{FF2B5EF4-FFF2-40B4-BE49-F238E27FC236}">
                <a16:creationId xmlns:a16="http://schemas.microsoft.com/office/drawing/2014/main" id="{28A80C68-CE58-E125-A479-823EADBCF9E6}"/>
              </a:ext>
            </a:extLst>
          </p:cNvPr>
          <p:cNvSpPr txBox="1">
            <a:spLocks/>
          </p:cNvSpPr>
          <p:nvPr>
            <p:custDataLst>
              <p:tags r:id="rId6"/>
            </p:custDataLst>
          </p:nvPr>
        </p:nvSpPr>
        <p:spPr>
          <a:xfrm>
            <a:off x="4066309" y="4581128"/>
            <a:ext cx="1141380" cy="722130"/>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1227490">
              <a:spcBef>
                <a:spcPct val="0"/>
              </a:spcBef>
              <a:spcAft>
                <a:spcPct val="0"/>
              </a:spcAft>
              <a:buClr>
                <a:srgbClr val="1F497D"/>
              </a:buClr>
              <a:buSzPct val="100000"/>
              <a:buNone/>
              <a:defRPr/>
            </a:pPr>
            <a:r>
              <a:rPr lang="en-US" sz="1000" b="1">
                <a:solidFill>
                  <a:schemeClr val="accent1"/>
                </a:solidFill>
              </a:rPr>
              <a:t>HELLENiQ ENERGY International GmbH</a:t>
            </a: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r>
              <a:rPr lang="en-US" sz="1000">
                <a:solidFill>
                  <a:schemeClr val="accent1"/>
                </a:solidFill>
              </a:rPr>
              <a:t>International Marketing</a:t>
            </a:r>
          </a:p>
        </p:txBody>
      </p:sp>
      <p:pic>
        <p:nvPicPr>
          <p:cNvPr id="65" name="Picture 2">
            <a:extLst>
              <a:ext uri="{FF2B5EF4-FFF2-40B4-BE49-F238E27FC236}">
                <a16:creationId xmlns:a16="http://schemas.microsoft.com/office/drawing/2014/main" id="{C02565C5-9A55-E5AD-3AE6-17495A36C18E}"/>
              </a:ext>
            </a:extLst>
          </p:cNvPr>
          <p:cNvPicPr>
            <a:picLocks noChangeAspect="1" noChangeArrowheads="1"/>
          </p:cNvPicPr>
          <p:nvPr/>
        </p:nvPicPr>
        <p:blipFill>
          <a:blip r:embed="rId15"/>
          <a:stretch/>
        </p:blipFill>
        <p:spPr bwMode="auto">
          <a:xfrm>
            <a:off x="2917157" y="3942963"/>
            <a:ext cx="446885" cy="442785"/>
          </a:xfrm>
          <a:prstGeom prst="rect">
            <a:avLst/>
          </a:prstGeom>
          <a:noFill/>
          <a:extLst>
            <a:ext uri="{909E8E84-426E-40DD-AFC4-6F175D3DCCD1}">
              <a14:hiddenFill xmlns:a14="http://schemas.microsoft.com/office/drawing/2010/main">
                <a:solidFill>
                  <a:srgbClr val="FFFFFF"/>
                </a:solidFill>
              </a14:hiddenFill>
            </a:ext>
          </a:extLst>
        </p:spPr>
      </p:pic>
      <p:sp>
        <p:nvSpPr>
          <p:cNvPr id="67" name="Oval 66">
            <a:extLst>
              <a:ext uri="{FF2B5EF4-FFF2-40B4-BE49-F238E27FC236}">
                <a16:creationId xmlns:a16="http://schemas.microsoft.com/office/drawing/2014/main" id="{CE026135-FC14-04C6-156E-92AB11A05752}"/>
              </a:ext>
            </a:extLst>
          </p:cNvPr>
          <p:cNvSpPr/>
          <p:nvPr/>
        </p:nvSpPr>
        <p:spPr>
          <a:xfrm>
            <a:off x="3441351" y="3958883"/>
            <a:ext cx="392613" cy="570002"/>
          </a:xfrm>
          <a:prstGeom prst="ellipse">
            <a:avLst/>
          </a:prstGeom>
          <a:solidFill>
            <a:schemeClr val="bg1"/>
          </a:solidFill>
          <a:ln w="19685">
            <a:noFill/>
          </a:ln>
        </p:spPr>
        <p:style>
          <a:lnRef idx="2">
            <a:schemeClr val="accent1">
              <a:shade val="50000"/>
            </a:schemeClr>
          </a:lnRef>
          <a:fillRef idx="1">
            <a:schemeClr val="accent1"/>
          </a:fillRef>
          <a:effectRef idx="0">
            <a:schemeClr val="accent1"/>
          </a:effectRef>
          <a:fontRef idx="minor">
            <a:schemeClr val="lt1"/>
          </a:fontRef>
        </p:style>
        <p:txBody>
          <a:bodyPr lIns="136533" tIns="109226" rIns="136533" bIns="109226" rtlCol="0" anchor="t">
            <a:noAutofit/>
          </a:bodyPr>
          <a:lstStyle/>
          <a:p>
            <a:pPr algn="ctr" defTabSz="1638217">
              <a:lnSpc>
                <a:spcPts val="3186"/>
              </a:lnSpc>
              <a:tabLst>
                <a:tab pos="546120" algn="l"/>
              </a:tabLst>
              <a:defRPr/>
            </a:pPr>
            <a:endParaRPr lang="de-DE" sz="1050" b="1">
              <a:solidFill>
                <a:srgbClr val="FFFFFF"/>
              </a:solidFill>
            </a:endParaRPr>
          </a:p>
        </p:txBody>
      </p:sp>
      <p:sp>
        <p:nvSpPr>
          <p:cNvPr id="112" name="Rectangle: Rounded Corners 111">
            <a:extLst>
              <a:ext uri="{FF2B5EF4-FFF2-40B4-BE49-F238E27FC236}">
                <a16:creationId xmlns:a16="http://schemas.microsoft.com/office/drawing/2014/main" id="{0593DE8A-C78C-6B71-11BA-A8177C937971}"/>
              </a:ext>
            </a:extLst>
          </p:cNvPr>
          <p:cNvSpPr>
            <a:spLocks/>
          </p:cNvSpPr>
          <p:nvPr/>
        </p:nvSpPr>
        <p:spPr>
          <a:xfrm>
            <a:off x="8242031" y="3786981"/>
            <a:ext cx="1163589" cy="2234304"/>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000" b="1">
              <a:solidFill>
                <a:srgbClr val="FFFFFF"/>
              </a:solidFill>
            </a:endParaRPr>
          </a:p>
        </p:txBody>
      </p:sp>
      <p:sp>
        <p:nvSpPr>
          <p:cNvPr id="73" name="TextBox 72">
            <a:extLst>
              <a:ext uri="{FF2B5EF4-FFF2-40B4-BE49-F238E27FC236}">
                <a16:creationId xmlns:a16="http://schemas.microsoft.com/office/drawing/2014/main" id="{948191A1-B211-6959-1DCA-158858E23A17}"/>
              </a:ext>
            </a:extLst>
          </p:cNvPr>
          <p:cNvSpPr txBox="1">
            <a:spLocks/>
          </p:cNvSpPr>
          <p:nvPr/>
        </p:nvSpPr>
        <p:spPr>
          <a:xfrm>
            <a:off x="8399657" y="5316039"/>
            <a:ext cx="867191" cy="216639"/>
          </a:xfrm>
          <a:prstGeom prst="rect">
            <a:avLst/>
          </a:prstGeom>
        </p:spPr>
        <p:txBody>
          <a:bodyPr vert="horz" wrap="square" lIns="0" tIns="0" rIns="0" bIns="0" rtlCol="0" anchor="ctr" anchorCtr="0">
            <a:noAutofit/>
          </a:bodyPr>
          <a:lstStyle>
            <a:lvl1pPr lvl="0" indent="0" defTabSz="671473" fontAlgn="base">
              <a:spcBef>
                <a:spcPct val="0"/>
              </a:spcBef>
              <a:spcAft>
                <a:spcPct val="0"/>
              </a:spcAft>
              <a:buClr>
                <a:schemeClr val="tx2"/>
              </a:buClr>
              <a:buSzPct val="100000"/>
              <a:defRPr lang="x-none" sz="1200" baseline="0"/>
            </a:lvl1pPr>
            <a:lvl2pPr marL="145247" lvl="1" indent="-144057" defTabSz="671473" fontAlgn="base">
              <a:spcBef>
                <a:spcPct val="0"/>
              </a:spcBef>
              <a:spcAft>
                <a:spcPct val="0"/>
              </a:spcAft>
              <a:buClr>
                <a:schemeClr val="tx2"/>
              </a:buClr>
              <a:buSzPct val="125000"/>
              <a:buFont typeface="Arial" panose="020B0604020202020204" pitchFamily="34" charset="0"/>
              <a:buChar char="▪"/>
              <a:defRPr lang="x-none" sz="1200" baseline="0"/>
            </a:lvl2pPr>
            <a:lvl3pPr marL="342880" lvl="2" indent="-196442" defTabSz="671473" fontAlgn="base">
              <a:spcBef>
                <a:spcPct val="0"/>
              </a:spcBef>
              <a:spcAft>
                <a:spcPct val="0"/>
              </a:spcAft>
              <a:buClr>
                <a:schemeClr val="tx2"/>
              </a:buClr>
              <a:buSzPct val="120000"/>
              <a:buFont typeface="Arial" panose="020B0604020202020204" pitchFamily="34" charset="0"/>
              <a:buChar char="–"/>
              <a:defRPr lang="x-none" sz="1200" baseline="0"/>
            </a:lvl3pPr>
            <a:lvl4pPr marL="460744" lvl="3" indent="-116674" defTabSz="671473" fontAlgn="base">
              <a:spcBef>
                <a:spcPct val="0"/>
              </a:spcBef>
              <a:spcAft>
                <a:spcPct val="0"/>
              </a:spcAft>
              <a:buClr>
                <a:schemeClr val="tx2"/>
              </a:buClr>
              <a:buSzPct val="120000"/>
              <a:buFont typeface="Arial" panose="020B0604020202020204" pitchFamily="34" charset="0"/>
              <a:buChar char="▫"/>
              <a:defRPr lang="x-none" sz="1200" baseline="0"/>
            </a:lvl4pPr>
            <a:lvl5pPr marL="562323" lvl="4" indent="-97626" defTabSz="671473" fontAlgn="base">
              <a:spcBef>
                <a:spcPct val="0"/>
              </a:spcBef>
              <a:spcAft>
                <a:spcPct val="0"/>
              </a:spcAft>
              <a:buClr>
                <a:schemeClr val="tx2"/>
              </a:buClr>
              <a:buSzPct val="89000"/>
              <a:buFont typeface="Arial" panose="020B0604020202020204" pitchFamily="34" charset="0"/>
              <a:buChar char="-"/>
              <a:defRPr lang="x-none" sz="1200" baseline="0"/>
            </a:lvl5pPr>
            <a:lvl6pPr marL="562323" indent="-97626" defTabSz="671473" fontAlgn="base">
              <a:spcBef>
                <a:spcPct val="0"/>
              </a:spcBef>
              <a:spcAft>
                <a:spcPct val="0"/>
              </a:spcAft>
              <a:buClr>
                <a:schemeClr val="tx2"/>
              </a:buClr>
              <a:buSzPct val="89000"/>
              <a:buFont typeface="Arial" charset="0"/>
              <a:buChar char="-"/>
              <a:defRPr lang="x-none" sz="1200" baseline="0"/>
            </a:lvl6pPr>
            <a:lvl7pPr marL="562323" indent="-97626" defTabSz="671473" fontAlgn="base">
              <a:spcBef>
                <a:spcPct val="0"/>
              </a:spcBef>
              <a:spcAft>
                <a:spcPct val="0"/>
              </a:spcAft>
              <a:buClr>
                <a:schemeClr val="tx2"/>
              </a:buClr>
              <a:buSzPct val="89000"/>
              <a:buFont typeface="Arial" charset="0"/>
              <a:buChar char="-"/>
              <a:defRPr lang="x-none" sz="1200" baseline="0"/>
            </a:lvl7pPr>
            <a:lvl8pPr marL="562323" indent="-97626" defTabSz="671473" fontAlgn="base">
              <a:spcBef>
                <a:spcPct val="0"/>
              </a:spcBef>
              <a:spcAft>
                <a:spcPct val="0"/>
              </a:spcAft>
              <a:buClr>
                <a:schemeClr val="tx2"/>
              </a:buClr>
              <a:buSzPct val="89000"/>
              <a:buFont typeface="Arial" charset="0"/>
              <a:buChar char="-"/>
              <a:defRPr lang="x-none" sz="1200" baseline="0"/>
            </a:lvl8pPr>
            <a:lvl9pPr marL="562323" indent="-97626" defTabSz="671473" fontAlgn="base">
              <a:spcBef>
                <a:spcPct val="0"/>
              </a:spcBef>
              <a:spcAft>
                <a:spcPct val="0"/>
              </a:spcAft>
              <a:buClr>
                <a:schemeClr val="tx2"/>
              </a:buClr>
              <a:buSzPct val="89000"/>
              <a:buFont typeface="Arial" charset="0"/>
              <a:buChar char="-"/>
              <a:defRPr lang="x-none" sz="1200" baseline="0"/>
            </a:lvl9pPr>
          </a:lstStyle>
          <a:p>
            <a:pPr algn="ctr" defTabSz="1018625">
              <a:buClr>
                <a:srgbClr val="239F9E"/>
              </a:buClr>
              <a:defRPr/>
            </a:pPr>
            <a:r>
              <a:rPr lang="en-US" sz="1000" spc="-46">
                <a:solidFill>
                  <a:schemeClr val="accent1"/>
                </a:solidFill>
              </a:rPr>
              <a:t>Power &amp; Gas</a:t>
            </a:r>
            <a:r>
              <a:rPr lang="en-US" sz="1000" spc="-46" baseline="30000">
                <a:solidFill>
                  <a:schemeClr val="accent1"/>
                </a:solidFill>
              </a:rPr>
              <a:t>2</a:t>
            </a:r>
          </a:p>
        </p:txBody>
      </p:sp>
      <p:sp>
        <p:nvSpPr>
          <p:cNvPr id="88" name="Rectangle: Rounded Corners 87">
            <a:extLst>
              <a:ext uri="{FF2B5EF4-FFF2-40B4-BE49-F238E27FC236}">
                <a16:creationId xmlns:a16="http://schemas.microsoft.com/office/drawing/2014/main" id="{ED8F446D-7EB7-2E90-25FF-FB1E7A6B1265}"/>
              </a:ext>
            </a:extLst>
          </p:cNvPr>
          <p:cNvSpPr>
            <a:spLocks/>
          </p:cNvSpPr>
          <p:nvPr/>
        </p:nvSpPr>
        <p:spPr>
          <a:xfrm>
            <a:off x="7004340" y="3786982"/>
            <a:ext cx="1163589" cy="2234305"/>
          </a:xfrm>
          <a:prstGeom prst="roundRect">
            <a:avLst>
              <a:gd name="adj" fmla="val 12486"/>
            </a:avLst>
          </a:prstGeom>
          <a:ln w="19050"/>
        </p:spPr>
        <p:style>
          <a:lnRef idx="2">
            <a:schemeClr val="accent4"/>
          </a:lnRef>
          <a:fillRef idx="1">
            <a:schemeClr val="lt1"/>
          </a:fillRef>
          <a:effectRef idx="0">
            <a:schemeClr val="accent4"/>
          </a:effectRef>
          <a:fontRef idx="minor">
            <a:schemeClr val="dk1"/>
          </a:fontRef>
        </p:style>
        <p:txBody>
          <a:bodyPr lIns="136533" tIns="109226" rIns="136533" bIns="109226" rtlCol="0" anchor="t">
            <a:noAutofit/>
          </a:bodyPr>
          <a:lstStyle/>
          <a:p>
            <a:pPr algn="ctr" defTabSz="1638217">
              <a:lnSpc>
                <a:spcPts val="3186"/>
              </a:lnSpc>
              <a:tabLst>
                <a:tab pos="546120" algn="l"/>
              </a:tabLst>
              <a:defRPr/>
            </a:pPr>
            <a:endParaRPr lang="en-US" sz="1000" b="1">
              <a:solidFill>
                <a:srgbClr val="FFFFFF"/>
              </a:solidFill>
            </a:endParaRPr>
          </a:p>
        </p:txBody>
      </p:sp>
      <p:sp>
        <p:nvSpPr>
          <p:cNvPr id="89" name="TextBox 30">
            <a:extLst>
              <a:ext uri="{FF2B5EF4-FFF2-40B4-BE49-F238E27FC236}">
                <a16:creationId xmlns:a16="http://schemas.microsoft.com/office/drawing/2014/main" id="{143DC6B8-A839-18BD-553B-5F2CEFA156C3}"/>
              </a:ext>
            </a:extLst>
          </p:cNvPr>
          <p:cNvSpPr txBox="1">
            <a:spLocks/>
          </p:cNvSpPr>
          <p:nvPr>
            <p:custDataLst>
              <p:tags r:id="rId7"/>
            </p:custDataLst>
          </p:nvPr>
        </p:nvSpPr>
        <p:spPr>
          <a:xfrm>
            <a:off x="7160736" y="4581128"/>
            <a:ext cx="850796" cy="565808"/>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1227490">
              <a:spcBef>
                <a:spcPct val="0"/>
              </a:spcBef>
              <a:spcAft>
                <a:spcPct val="0"/>
              </a:spcAft>
              <a:buClr>
                <a:srgbClr val="1F497D"/>
              </a:buClr>
              <a:buSzPct val="100000"/>
              <a:buNone/>
              <a:defRPr/>
            </a:pPr>
            <a:r>
              <a:rPr lang="en-US" sz="1000" b="1">
                <a:solidFill>
                  <a:schemeClr val="accent1"/>
                </a:solidFill>
              </a:rPr>
              <a:t>HELLENiQ</a:t>
            </a:r>
          </a:p>
          <a:p>
            <a:pPr algn="ctr" defTabSz="1227490">
              <a:spcBef>
                <a:spcPct val="0"/>
              </a:spcBef>
              <a:spcAft>
                <a:spcPct val="0"/>
              </a:spcAft>
              <a:buClr>
                <a:srgbClr val="1F497D"/>
              </a:buClr>
              <a:buSzPct val="100000"/>
              <a:buNone/>
              <a:defRPr/>
            </a:pPr>
            <a:r>
              <a:rPr lang="en-US" sz="1000" b="1">
                <a:solidFill>
                  <a:schemeClr val="accent1"/>
                </a:solidFill>
              </a:rPr>
              <a:t>Renewables S.A.</a:t>
            </a: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endParaRPr lang="en-US" sz="1000" b="1">
              <a:solidFill>
                <a:schemeClr val="accent1"/>
              </a:solidFill>
            </a:endParaRPr>
          </a:p>
          <a:p>
            <a:pPr algn="ctr" defTabSz="1227490">
              <a:spcBef>
                <a:spcPct val="0"/>
              </a:spcBef>
              <a:spcAft>
                <a:spcPct val="0"/>
              </a:spcAft>
              <a:buClr>
                <a:srgbClr val="1F497D"/>
              </a:buClr>
              <a:buSzPct val="100000"/>
              <a:buNone/>
              <a:defRPr/>
            </a:pPr>
            <a:r>
              <a:rPr lang="en-US" sz="1000">
                <a:solidFill>
                  <a:schemeClr val="accent1"/>
                </a:solidFill>
              </a:rPr>
              <a:t>RES</a:t>
            </a:r>
          </a:p>
        </p:txBody>
      </p:sp>
      <p:sp>
        <p:nvSpPr>
          <p:cNvPr id="90" name="Rechteck 45">
            <a:extLst>
              <a:ext uri="{FF2B5EF4-FFF2-40B4-BE49-F238E27FC236}">
                <a16:creationId xmlns:a16="http://schemas.microsoft.com/office/drawing/2014/main" id="{32756EC5-342E-64A0-C509-0FC7B3A08ADF}"/>
              </a:ext>
            </a:extLst>
          </p:cNvPr>
          <p:cNvSpPr/>
          <p:nvPr/>
        </p:nvSpPr>
        <p:spPr>
          <a:xfrm>
            <a:off x="7106115" y="4024055"/>
            <a:ext cx="969494" cy="488866"/>
          </a:xfrm>
          <a:prstGeom prst="rect">
            <a:avLst/>
          </a:prstGeom>
          <a:solidFill>
            <a:schemeClr val="bg1"/>
          </a:solidFill>
          <a:ln w="19685">
            <a:noFill/>
          </a:ln>
        </p:spPr>
        <p:style>
          <a:lnRef idx="2">
            <a:schemeClr val="accent1">
              <a:shade val="50000"/>
            </a:schemeClr>
          </a:lnRef>
          <a:fillRef idx="1">
            <a:schemeClr val="accent1"/>
          </a:fillRef>
          <a:effectRef idx="0">
            <a:schemeClr val="accent1"/>
          </a:effectRef>
          <a:fontRef idx="minor">
            <a:schemeClr val="lt1"/>
          </a:fontRef>
        </p:style>
        <p:txBody>
          <a:bodyPr lIns="136533" tIns="109226" rIns="136533" bIns="109226" rtlCol="0" anchor="t">
            <a:noAutofit/>
          </a:bodyPr>
          <a:lstStyle/>
          <a:p>
            <a:pPr algn="ctr" defTabSz="1638217">
              <a:lnSpc>
                <a:spcPts val="3186"/>
              </a:lnSpc>
              <a:tabLst>
                <a:tab pos="546120" algn="l"/>
              </a:tabLst>
              <a:defRPr/>
            </a:pPr>
            <a:endParaRPr lang="de-DE" sz="1050" b="1">
              <a:solidFill>
                <a:srgbClr val="FFFFFF"/>
              </a:solidFill>
            </a:endParaRPr>
          </a:p>
        </p:txBody>
      </p:sp>
      <p:pic>
        <p:nvPicPr>
          <p:cNvPr id="100" name="Picture 4" descr="Elpedison Dashboard">
            <a:extLst>
              <a:ext uri="{FF2B5EF4-FFF2-40B4-BE49-F238E27FC236}">
                <a16:creationId xmlns:a16="http://schemas.microsoft.com/office/drawing/2014/main" id="{AA89EAA2-4D5D-AFDB-511E-A51C365CC597}"/>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8339718" y="4040371"/>
            <a:ext cx="968213" cy="252000"/>
          </a:xfrm>
          <a:prstGeom prst="rect">
            <a:avLst/>
          </a:prstGeom>
          <a:solidFill>
            <a:schemeClr val="bg2">
              <a:lumMod val="85000"/>
            </a:schemeClr>
          </a:solidFill>
          <a:ln>
            <a:noFill/>
          </a:ln>
        </p:spPr>
      </p:pic>
      <p:pic>
        <p:nvPicPr>
          <p:cNvPr id="113" name="Picture 112">
            <a:extLst>
              <a:ext uri="{FF2B5EF4-FFF2-40B4-BE49-F238E27FC236}">
                <a16:creationId xmlns:a16="http://schemas.microsoft.com/office/drawing/2014/main" id="{53AACB02-E862-0D3C-3279-AB12BC9F2A3C}"/>
              </a:ext>
            </a:extLst>
          </p:cNvPr>
          <p:cNvPicPr>
            <a:picLocks noChangeAspect="1"/>
          </p:cNvPicPr>
          <p:nvPr/>
        </p:nvPicPr>
        <p:blipFill rotWithShape="1">
          <a:blip r:embed="rId17"/>
          <a:srcRect r="67830"/>
          <a:stretch/>
        </p:blipFill>
        <p:spPr>
          <a:xfrm>
            <a:off x="1971232" y="3968334"/>
            <a:ext cx="438894" cy="392042"/>
          </a:xfrm>
          <a:prstGeom prst="rect">
            <a:avLst/>
          </a:prstGeom>
        </p:spPr>
      </p:pic>
      <p:pic>
        <p:nvPicPr>
          <p:cNvPr id="114" name="Picture 13" descr="BP Logo | The most famous brands and company logos in the world">
            <a:extLst>
              <a:ext uri="{FF2B5EF4-FFF2-40B4-BE49-F238E27FC236}">
                <a16:creationId xmlns:a16="http://schemas.microsoft.com/office/drawing/2014/main" id="{7E752552-D5CD-45A1-ECA3-DC7614D94C3F}"/>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tretch/>
        </p:blipFill>
        <p:spPr bwMode="auto">
          <a:xfrm>
            <a:off x="3374798" y="3990634"/>
            <a:ext cx="347443" cy="347443"/>
          </a:xfrm>
          <a:prstGeom prst="rect">
            <a:avLst/>
          </a:prstGeom>
          <a:noFill/>
          <a:extLst>
            <a:ext uri="{909E8E84-426E-40DD-AFC4-6F175D3DCCD1}">
              <a14:hiddenFill xmlns:a14="http://schemas.microsoft.com/office/drawing/2010/main">
                <a:solidFill>
                  <a:srgbClr val="FFFFFF"/>
                </a:solidFill>
              </a14:hiddenFill>
            </a:ext>
          </a:extLst>
        </p:spPr>
      </p:pic>
      <p:pic>
        <p:nvPicPr>
          <p:cNvPr id="118" name="Grafik 13">
            <a:extLst>
              <a:ext uri="{FF2B5EF4-FFF2-40B4-BE49-F238E27FC236}">
                <a16:creationId xmlns:a16="http://schemas.microsoft.com/office/drawing/2014/main" id="{B77B6236-56EA-AABC-020F-4CB7B27E86DE}"/>
              </a:ext>
            </a:extLst>
          </p:cNvPr>
          <p:cNvPicPr>
            <a:picLocks noChangeAspect="1"/>
          </p:cNvPicPr>
          <p:nvPr/>
        </p:nvPicPr>
        <p:blipFill rotWithShape="1">
          <a:blip r:embed="rId19" cstate="screen">
            <a:extLst>
              <a:ext uri="{28A0092B-C50C-407E-A947-70E740481C1C}">
                <a14:useLocalDpi xmlns:a14="http://schemas.microsoft.com/office/drawing/2010/main"/>
              </a:ext>
            </a:extLst>
          </a:blip>
          <a:stretch/>
        </p:blipFill>
        <p:spPr>
          <a:xfrm>
            <a:off x="4570365" y="4036339"/>
            <a:ext cx="499872" cy="256032"/>
          </a:xfrm>
          <a:prstGeom prst="rect">
            <a:avLst/>
          </a:prstGeom>
        </p:spPr>
      </p:pic>
      <p:sp>
        <p:nvSpPr>
          <p:cNvPr id="11" name="Rectangle: Rounded Corners 10">
            <a:extLst>
              <a:ext uri="{FF2B5EF4-FFF2-40B4-BE49-F238E27FC236}">
                <a16:creationId xmlns:a16="http://schemas.microsoft.com/office/drawing/2014/main" id="{E73E36B7-288E-3BA2-59F0-55D17A49286B}"/>
              </a:ext>
            </a:extLst>
          </p:cNvPr>
          <p:cNvSpPr>
            <a:spLocks/>
          </p:cNvSpPr>
          <p:nvPr/>
        </p:nvSpPr>
        <p:spPr>
          <a:xfrm>
            <a:off x="1559496" y="2997587"/>
            <a:ext cx="3660888" cy="538307"/>
          </a:xfrm>
          <a:prstGeom prst="roundRect">
            <a:avLst>
              <a:gd name="adj" fmla="val 12486"/>
            </a:avLst>
          </a:prstGeom>
          <a:ln w="19050">
            <a:prstDash val="dash"/>
          </a:ln>
        </p:spPr>
        <p:style>
          <a:lnRef idx="2">
            <a:schemeClr val="accent4"/>
          </a:lnRef>
          <a:fillRef idx="1">
            <a:schemeClr val="lt1"/>
          </a:fillRef>
          <a:effectRef idx="0">
            <a:schemeClr val="accent4"/>
          </a:effectRef>
          <a:fontRef idx="minor">
            <a:schemeClr val="dk1"/>
          </a:fontRef>
        </p:style>
        <p:txBody>
          <a:bodyPr lIns="0" tIns="0" rIns="0" bIns="109226" rtlCol="0" anchor="t">
            <a:noAutofit/>
          </a:bodyPr>
          <a:lstStyle/>
          <a:p>
            <a:pPr algn="ctr" defTabSz="1638217">
              <a:lnSpc>
                <a:spcPts val="3186"/>
              </a:lnSpc>
              <a:tabLst>
                <a:tab pos="546120" algn="l"/>
              </a:tabLst>
              <a:defRPr/>
            </a:pPr>
            <a:r>
              <a:rPr lang="en-US" sz="1100" b="1">
                <a:solidFill>
                  <a:schemeClr val="accent1"/>
                </a:solidFill>
              </a:rPr>
              <a:t>Downstream</a:t>
            </a:r>
          </a:p>
        </p:txBody>
      </p:sp>
      <p:sp>
        <p:nvSpPr>
          <p:cNvPr id="28" name="Rectangle: Rounded Corners 27">
            <a:extLst>
              <a:ext uri="{FF2B5EF4-FFF2-40B4-BE49-F238E27FC236}">
                <a16:creationId xmlns:a16="http://schemas.microsoft.com/office/drawing/2014/main" id="{CA34F3A3-8B18-50D2-1A3F-D3C041159B95}"/>
              </a:ext>
            </a:extLst>
          </p:cNvPr>
          <p:cNvSpPr>
            <a:spLocks/>
          </p:cNvSpPr>
          <p:nvPr/>
        </p:nvSpPr>
        <p:spPr>
          <a:xfrm>
            <a:off x="7004343" y="2997587"/>
            <a:ext cx="2401277" cy="538307"/>
          </a:xfrm>
          <a:prstGeom prst="roundRect">
            <a:avLst>
              <a:gd name="adj" fmla="val 12486"/>
            </a:avLst>
          </a:prstGeom>
          <a:ln w="19050">
            <a:prstDash val="dash"/>
          </a:ln>
        </p:spPr>
        <p:style>
          <a:lnRef idx="2">
            <a:schemeClr val="accent4"/>
          </a:lnRef>
          <a:fillRef idx="1">
            <a:schemeClr val="lt1"/>
          </a:fillRef>
          <a:effectRef idx="0">
            <a:schemeClr val="accent4"/>
          </a:effectRef>
          <a:fontRef idx="minor">
            <a:schemeClr val="dk1"/>
          </a:fontRef>
        </p:style>
        <p:txBody>
          <a:bodyPr lIns="0" tIns="0" rIns="0" bIns="109226" rtlCol="0" anchor="t">
            <a:noAutofit/>
          </a:bodyPr>
          <a:lstStyle/>
          <a:p>
            <a:pPr algn="ctr" defTabSz="1638217">
              <a:lnSpc>
                <a:spcPts val="3186"/>
              </a:lnSpc>
              <a:tabLst>
                <a:tab pos="546120" algn="l"/>
              </a:tabLst>
              <a:defRPr/>
            </a:pPr>
            <a:r>
              <a:rPr lang="en-US" sz="1100" b="1">
                <a:solidFill>
                  <a:schemeClr val="accent1"/>
                </a:solidFill>
              </a:rPr>
              <a:t>New Energy</a:t>
            </a:r>
          </a:p>
        </p:txBody>
      </p:sp>
      <p:grpSp>
        <p:nvGrpSpPr>
          <p:cNvPr id="19" name="Group 18">
            <a:extLst>
              <a:ext uri="{FF2B5EF4-FFF2-40B4-BE49-F238E27FC236}">
                <a16:creationId xmlns:a16="http://schemas.microsoft.com/office/drawing/2014/main" id="{28F75AB2-4984-65D9-0C85-85B8E8D41E2B}"/>
              </a:ext>
            </a:extLst>
          </p:cNvPr>
          <p:cNvGrpSpPr/>
          <p:nvPr/>
        </p:nvGrpSpPr>
        <p:grpSpPr>
          <a:xfrm>
            <a:off x="4637396" y="1140736"/>
            <a:ext cx="2815811" cy="402221"/>
            <a:chOff x="3076336" y="1170547"/>
            <a:chExt cx="1992842" cy="402221"/>
          </a:xfrm>
        </p:grpSpPr>
        <p:sp>
          <p:nvSpPr>
            <p:cNvPr id="60" name="TextOval 4">
              <a:extLst>
                <a:ext uri="{FF2B5EF4-FFF2-40B4-BE49-F238E27FC236}">
                  <a16:creationId xmlns:a16="http://schemas.microsoft.com/office/drawing/2014/main" id="{F60EC9C1-BB3C-16CE-BBB1-D7825E910120}"/>
                </a:ext>
              </a:extLst>
            </p:cNvPr>
            <p:cNvSpPr>
              <a:spLocks/>
            </p:cNvSpPr>
            <p:nvPr>
              <p:custDataLst>
                <p:tags r:id="rId8"/>
              </p:custDataLst>
            </p:nvPr>
          </p:nvSpPr>
          <p:spPr>
            <a:xfrm>
              <a:off x="3076336" y="1170547"/>
              <a:ext cx="657342" cy="398393"/>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73639" tIns="73639" rIns="73639" bIns="73639" rtlCol="0" anchor="ctr" anchorCtr="1">
              <a:noAutofit/>
            </a:bodyPr>
            <a:lstStyle/>
            <a:p>
              <a:pPr algn="ctr"/>
              <a:r>
                <a:rPr lang="en-US" sz="800" b="1">
                  <a:solidFill>
                    <a:schemeClr val="bg1"/>
                  </a:solidFill>
                </a:rPr>
                <a:t>POIH</a:t>
              </a:r>
              <a:r>
                <a:rPr lang="en-US" sz="800" b="1" baseline="30000">
                  <a:solidFill>
                    <a:schemeClr val="bg1"/>
                  </a:solidFill>
                </a:rPr>
                <a:t>1</a:t>
              </a:r>
            </a:p>
            <a:p>
              <a:pPr algn="ctr"/>
              <a:r>
                <a:rPr lang="en-US" sz="700" b="1">
                  <a:solidFill>
                    <a:schemeClr val="bg1"/>
                  </a:solidFill>
                </a:rPr>
                <a:t>40.4%</a:t>
              </a:r>
            </a:p>
          </p:txBody>
        </p:sp>
        <p:sp>
          <p:nvSpPr>
            <p:cNvPr id="69" name="TextOval 4">
              <a:extLst>
                <a:ext uri="{FF2B5EF4-FFF2-40B4-BE49-F238E27FC236}">
                  <a16:creationId xmlns:a16="http://schemas.microsoft.com/office/drawing/2014/main" id="{C2D749EF-F3EC-BBE2-BDD4-8B59EF16DB50}"/>
                </a:ext>
              </a:extLst>
            </p:cNvPr>
            <p:cNvSpPr>
              <a:spLocks/>
            </p:cNvSpPr>
            <p:nvPr>
              <p:custDataLst>
                <p:tags r:id="rId9"/>
              </p:custDataLst>
            </p:nvPr>
          </p:nvSpPr>
          <p:spPr>
            <a:xfrm>
              <a:off x="3753537" y="1190125"/>
              <a:ext cx="638439" cy="382643"/>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73639" tIns="73639" rIns="73639" bIns="73639" rtlCol="0" anchor="ctr" anchorCtr="1">
              <a:noAutofit/>
            </a:bodyPr>
            <a:lstStyle/>
            <a:p>
              <a:pPr algn="ctr"/>
              <a:r>
                <a:rPr lang="en-US" sz="800" b="1">
                  <a:solidFill>
                    <a:schemeClr val="bg1"/>
                  </a:solidFill>
                </a:rPr>
                <a:t>GROWTHFUND</a:t>
              </a:r>
              <a:r>
                <a:rPr lang="en-US" sz="800" b="1" baseline="30000">
                  <a:solidFill>
                    <a:schemeClr val="bg1"/>
                  </a:solidFill>
                </a:rPr>
                <a:t>1</a:t>
              </a:r>
            </a:p>
            <a:p>
              <a:pPr algn="ctr"/>
              <a:r>
                <a:rPr lang="en-US" sz="700" b="1">
                  <a:solidFill>
                    <a:schemeClr val="bg1"/>
                  </a:solidFill>
                </a:rPr>
                <a:t>31.2%</a:t>
              </a:r>
            </a:p>
          </p:txBody>
        </p:sp>
        <p:sp>
          <p:nvSpPr>
            <p:cNvPr id="3" name="TextOval 4">
              <a:extLst>
                <a:ext uri="{FF2B5EF4-FFF2-40B4-BE49-F238E27FC236}">
                  <a16:creationId xmlns:a16="http://schemas.microsoft.com/office/drawing/2014/main" id="{66296911-0266-D137-5857-216B35971138}"/>
                </a:ext>
              </a:extLst>
            </p:cNvPr>
            <p:cNvSpPr>
              <a:spLocks/>
            </p:cNvSpPr>
            <p:nvPr>
              <p:custDataLst>
                <p:tags r:id="rId10"/>
              </p:custDataLst>
            </p:nvPr>
          </p:nvSpPr>
          <p:spPr>
            <a:xfrm>
              <a:off x="4411836" y="1186297"/>
              <a:ext cx="657342" cy="382643"/>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73639" tIns="73639" rIns="73639" bIns="73639" rtlCol="0" anchor="ctr" anchorCtr="1">
              <a:noAutofit/>
            </a:bodyPr>
            <a:lstStyle/>
            <a:p>
              <a:pPr algn="ctr"/>
              <a:r>
                <a:rPr lang="en-US" sz="800" b="1">
                  <a:solidFill>
                    <a:schemeClr val="bg1"/>
                  </a:solidFill>
                </a:rPr>
                <a:t>Free Float</a:t>
              </a:r>
            </a:p>
            <a:p>
              <a:pPr algn="ctr"/>
              <a:r>
                <a:rPr lang="en-US" sz="700" b="1">
                  <a:solidFill>
                    <a:schemeClr val="bg1"/>
                  </a:solidFill>
                </a:rPr>
                <a:t>28.4%</a:t>
              </a:r>
            </a:p>
          </p:txBody>
        </p:sp>
      </p:grpSp>
      <p:cxnSp>
        <p:nvCxnSpPr>
          <p:cNvPr id="16" name="Straight Connector 15">
            <a:extLst>
              <a:ext uri="{FF2B5EF4-FFF2-40B4-BE49-F238E27FC236}">
                <a16:creationId xmlns:a16="http://schemas.microsoft.com/office/drawing/2014/main" id="{81722FEB-29DC-9A47-AE4F-D6F421A01DFD}"/>
              </a:ext>
            </a:extLst>
          </p:cNvPr>
          <p:cNvCxnSpPr>
            <a:cxnSpLocks/>
          </p:cNvCxnSpPr>
          <p:nvPr/>
        </p:nvCxnSpPr>
        <p:spPr>
          <a:xfrm>
            <a:off x="6096000" y="1635639"/>
            <a:ext cx="0" cy="136776"/>
          </a:xfrm>
          <a:prstGeom prst="line">
            <a:avLst/>
          </a:prstGeom>
          <a:ln w="6350"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F33F427-733D-2497-4CA3-496F888FC0D9}"/>
              </a:ext>
            </a:extLst>
          </p:cNvPr>
          <p:cNvCxnSpPr>
            <a:cxnSpLocks/>
            <a:endCxn id="74" idx="0"/>
          </p:cNvCxnSpPr>
          <p:nvPr/>
        </p:nvCxnSpPr>
        <p:spPr>
          <a:xfrm>
            <a:off x="6105318" y="2483132"/>
            <a:ext cx="0" cy="129478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72" name="Straight Connector 71">
            <a:extLst>
              <a:ext uri="{FF2B5EF4-FFF2-40B4-BE49-F238E27FC236}">
                <a16:creationId xmlns:a16="http://schemas.microsoft.com/office/drawing/2014/main" id="{8199E89F-F42E-E65A-2DF3-44004862E4AE}"/>
              </a:ext>
            </a:extLst>
          </p:cNvPr>
          <p:cNvCxnSpPr>
            <a:cxnSpLocks/>
          </p:cNvCxnSpPr>
          <p:nvPr/>
        </p:nvCxnSpPr>
        <p:spPr>
          <a:xfrm>
            <a:off x="6105318" y="2729275"/>
            <a:ext cx="2103120"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78" name="Straight Connector 77">
            <a:extLst>
              <a:ext uri="{FF2B5EF4-FFF2-40B4-BE49-F238E27FC236}">
                <a16:creationId xmlns:a16="http://schemas.microsoft.com/office/drawing/2014/main" id="{D7BB7C78-F36C-6D62-5EEC-37FCEF3DC507}"/>
              </a:ext>
            </a:extLst>
          </p:cNvPr>
          <p:cNvCxnSpPr>
            <a:cxnSpLocks/>
          </p:cNvCxnSpPr>
          <p:nvPr/>
        </p:nvCxnSpPr>
        <p:spPr>
          <a:xfrm flipH="1">
            <a:off x="8212602" y="2730562"/>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79" name="Straight Connector 78">
            <a:extLst>
              <a:ext uri="{FF2B5EF4-FFF2-40B4-BE49-F238E27FC236}">
                <a16:creationId xmlns:a16="http://schemas.microsoft.com/office/drawing/2014/main" id="{9C04F49D-ECD7-B352-6B2A-C1DF91AE6633}"/>
              </a:ext>
            </a:extLst>
          </p:cNvPr>
          <p:cNvCxnSpPr>
            <a:cxnSpLocks/>
          </p:cNvCxnSpPr>
          <p:nvPr/>
        </p:nvCxnSpPr>
        <p:spPr>
          <a:xfrm>
            <a:off x="3396670" y="2729275"/>
            <a:ext cx="2708648"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80" name="Straight Connector 79">
            <a:extLst>
              <a:ext uri="{FF2B5EF4-FFF2-40B4-BE49-F238E27FC236}">
                <a16:creationId xmlns:a16="http://schemas.microsoft.com/office/drawing/2014/main" id="{33671E8A-5B19-8F2A-588B-876D2C7049A6}"/>
              </a:ext>
            </a:extLst>
          </p:cNvPr>
          <p:cNvCxnSpPr>
            <a:cxnSpLocks/>
          </p:cNvCxnSpPr>
          <p:nvPr/>
        </p:nvCxnSpPr>
        <p:spPr>
          <a:xfrm flipH="1">
            <a:off x="3396670" y="2730562"/>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81" name="Straight Connector 80">
            <a:extLst>
              <a:ext uri="{FF2B5EF4-FFF2-40B4-BE49-F238E27FC236}">
                <a16:creationId xmlns:a16="http://schemas.microsoft.com/office/drawing/2014/main" id="{7062F9FB-DEFB-BCEA-876D-A32E4C15905B}"/>
              </a:ext>
            </a:extLst>
          </p:cNvPr>
          <p:cNvCxnSpPr>
            <a:cxnSpLocks/>
          </p:cNvCxnSpPr>
          <p:nvPr/>
        </p:nvCxnSpPr>
        <p:spPr>
          <a:xfrm flipH="1">
            <a:off x="2151231" y="3535894"/>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87" name="Straight Connector 86">
            <a:extLst>
              <a:ext uri="{FF2B5EF4-FFF2-40B4-BE49-F238E27FC236}">
                <a16:creationId xmlns:a16="http://schemas.microsoft.com/office/drawing/2014/main" id="{304C0A28-8D98-2404-4CA1-8715FE16E20D}"/>
              </a:ext>
            </a:extLst>
          </p:cNvPr>
          <p:cNvCxnSpPr>
            <a:cxnSpLocks/>
          </p:cNvCxnSpPr>
          <p:nvPr/>
        </p:nvCxnSpPr>
        <p:spPr>
          <a:xfrm flipH="1">
            <a:off x="3377816" y="3527576"/>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91" name="Straight Connector 90">
            <a:extLst>
              <a:ext uri="{FF2B5EF4-FFF2-40B4-BE49-F238E27FC236}">
                <a16:creationId xmlns:a16="http://schemas.microsoft.com/office/drawing/2014/main" id="{81FFF153-4466-B24B-45C6-015837A6C643}"/>
              </a:ext>
            </a:extLst>
          </p:cNvPr>
          <p:cNvCxnSpPr>
            <a:cxnSpLocks/>
          </p:cNvCxnSpPr>
          <p:nvPr/>
        </p:nvCxnSpPr>
        <p:spPr>
          <a:xfrm flipH="1">
            <a:off x="4658519" y="3527576"/>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93" name="Straight Connector 92">
            <a:extLst>
              <a:ext uri="{FF2B5EF4-FFF2-40B4-BE49-F238E27FC236}">
                <a16:creationId xmlns:a16="http://schemas.microsoft.com/office/drawing/2014/main" id="{FA75909F-2DA4-004D-584F-F37A29033571}"/>
              </a:ext>
            </a:extLst>
          </p:cNvPr>
          <p:cNvCxnSpPr>
            <a:cxnSpLocks/>
          </p:cNvCxnSpPr>
          <p:nvPr/>
        </p:nvCxnSpPr>
        <p:spPr>
          <a:xfrm flipH="1">
            <a:off x="7627588" y="3527576"/>
            <a:ext cx="0" cy="259405"/>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95" name="Straight Connector 94">
            <a:extLst>
              <a:ext uri="{FF2B5EF4-FFF2-40B4-BE49-F238E27FC236}">
                <a16:creationId xmlns:a16="http://schemas.microsoft.com/office/drawing/2014/main" id="{B06627DF-6F1A-6E33-32AB-663819502291}"/>
              </a:ext>
            </a:extLst>
          </p:cNvPr>
          <p:cNvCxnSpPr>
            <a:cxnSpLocks/>
          </p:cNvCxnSpPr>
          <p:nvPr/>
        </p:nvCxnSpPr>
        <p:spPr>
          <a:xfrm flipH="1">
            <a:off x="8809568" y="3535894"/>
            <a:ext cx="0" cy="259405"/>
          </a:xfrm>
          <a:prstGeom prst="line">
            <a:avLst/>
          </a:prstGeom>
          <a:ln/>
        </p:spPr>
        <p:style>
          <a:lnRef idx="1">
            <a:schemeClr val="accent4"/>
          </a:lnRef>
          <a:fillRef idx="0">
            <a:schemeClr val="accent4"/>
          </a:fillRef>
          <a:effectRef idx="0">
            <a:schemeClr val="accent4"/>
          </a:effectRef>
          <a:fontRef idx="minor">
            <a:schemeClr val="tx1"/>
          </a:fontRef>
        </p:style>
      </p:cxnSp>
      <p:sp>
        <p:nvSpPr>
          <p:cNvPr id="97" name="Rectangle: Rounded Corners 96">
            <a:extLst>
              <a:ext uri="{FF2B5EF4-FFF2-40B4-BE49-F238E27FC236}">
                <a16:creationId xmlns:a16="http://schemas.microsoft.com/office/drawing/2014/main" id="{A262ADA1-2391-265E-2348-F31A44393627}"/>
              </a:ext>
            </a:extLst>
          </p:cNvPr>
          <p:cNvSpPr>
            <a:spLocks/>
          </p:cNvSpPr>
          <p:nvPr/>
        </p:nvSpPr>
        <p:spPr>
          <a:xfrm>
            <a:off x="5556908" y="3007104"/>
            <a:ext cx="1163587" cy="538307"/>
          </a:xfrm>
          <a:prstGeom prst="roundRect">
            <a:avLst>
              <a:gd name="adj" fmla="val 12486"/>
            </a:avLst>
          </a:prstGeom>
          <a:ln w="19050">
            <a:prstDash val="dash"/>
          </a:ln>
        </p:spPr>
        <p:style>
          <a:lnRef idx="2">
            <a:schemeClr val="accent4"/>
          </a:lnRef>
          <a:fillRef idx="1">
            <a:schemeClr val="lt1"/>
          </a:fillRef>
          <a:effectRef idx="0">
            <a:schemeClr val="accent4"/>
          </a:effectRef>
          <a:fontRef idx="minor">
            <a:schemeClr val="dk1"/>
          </a:fontRef>
        </p:style>
        <p:txBody>
          <a:bodyPr lIns="0" tIns="0" rIns="0" bIns="109226" rtlCol="0" anchor="t">
            <a:noAutofit/>
          </a:bodyPr>
          <a:lstStyle/>
          <a:p>
            <a:pPr algn="ctr" defTabSz="1638217">
              <a:lnSpc>
                <a:spcPts val="3186"/>
              </a:lnSpc>
              <a:tabLst>
                <a:tab pos="546120" algn="l"/>
              </a:tabLst>
              <a:defRPr/>
            </a:pPr>
            <a:r>
              <a:rPr lang="en-US" sz="1100" b="1">
                <a:solidFill>
                  <a:schemeClr val="accent1"/>
                </a:solidFill>
              </a:rPr>
              <a:t>Upstream</a:t>
            </a:r>
          </a:p>
        </p:txBody>
      </p:sp>
      <p:sp>
        <p:nvSpPr>
          <p:cNvPr id="12" name="TextBox 11">
            <a:extLst>
              <a:ext uri="{FF2B5EF4-FFF2-40B4-BE49-F238E27FC236}">
                <a16:creationId xmlns:a16="http://schemas.microsoft.com/office/drawing/2014/main" id="{F58F8D32-68DB-54FC-5E0A-094E021EA6B8}"/>
              </a:ext>
            </a:extLst>
          </p:cNvPr>
          <p:cNvSpPr txBox="1"/>
          <p:nvPr/>
        </p:nvSpPr>
        <p:spPr>
          <a:xfrm>
            <a:off x="5134514" y="894515"/>
            <a:ext cx="1838089" cy="246221"/>
          </a:xfrm>
          <a:prstGeom prst="rect">
            <a:avLst/>
          </a:prstGeom>
          <a:solidFill>
            <a:schemeClr val="bg1"/>
          </a:solidFill>
        </p:spPr>
        <p:txBody>
          <a:bodyPr wrap="square">
            <a:spAutoFit/>
          </a:bodyPr>
          <a:lstStyle/>
          <a:p>
            <a:pPr algn="ctr"/>
            <a:r>
              <a:rPr lang="en-US" sz="1000" b="1">
                <a:solidFill>
                  <a:schemeClr val="accent1"/>
                </a:solidFill>
              </a:rPr>
              <a:t>Shareholding Structure</a:t>
            </a:r>
          </a:p>
        </p:txBody>
      </p:sp>
      <p:pic>
        <p:nvPicPr>
          <p:cNvPr id="15" name="Picture 2">
            <a:extLst>
              <a:ext uri="{FF2B5EF4-FFF2-40B4-BE49-F238E27FC236}">
                <a16:creationId xmlns:a16="http://schemas.microsoft.com/office/drawing/2014/main" id="{43143C97-B41B-B8B7-BED5-8BEDB26CFB49}"/>
              </a:ext>
            </a:extLst>
          </p:cNvPr>
          <p:cNvPicPr>
            <a:picLocks noChangeAspect="1" noChangeArrowheads="1"/>
          </p:cNvPicPr>
          <p:nvPr/>
        </p:nvPicPr>
        <p:blipFill>
          <a:blip r:embed="rId15"/>
          <a:stretch/>
        </p:blipFill>
        <p:spPr bwMode="auto">
          <a:xfrm>
            <a:off x="4138317" y="3942963"/>
            <a:ext cx="446885" cy="44278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0ECCA6A0-36E6-0B0C-AEA4-CFCB6E84E1EC}"/>
              </a:ext>
            </a:extLst>
          </p:cNvPr>
          <p:cNvPicPr>
            <a:picLocks noChangeAspect="1"/>
          </p:cNvPicPr>
          <p:nvPr/>
        </p:nvPicPr>
        <p:blipFill rotWithShape="1">
          <a:blip r:embed="rId17"/>
          <a:srcRect r="67830"/>
          <a:stretch/>
        </p:blipFill>
        <p:spPr>
          <a:xfrm>
            <a:off x="5938517" y="3968334"/>
            <a:ext cx="438894" cy="392042"/>
          </a:xfrm>
          <a:prstGeom prst="rect">
            <a:avLst/>
          </a:prstGeom>
        </p:spPr>
      </p:pic>
      <p:pic>
        <p:nvPicPr>
          <p:cNvPr id="18" name="Picture 17">
            <a:extLst>
              <a:ext uri="{FF2B5EF4-FFF2-40B4-BE49-F238E27FC236}">
                <a16:creationId xmlns:a16="http://schemas.microsoft.com/office/drawing/2014/main" id="{A74665EF-6A21-C4A5-EA99-A216181ED619}"/>
              </a:ext>
            </a:extLst>
          </p:cNvPr>
          <p:cNvPicPr>
            <a:picLocks noChangeAspect="1"/>
          </p:cNvPicPr>
          <p:nvPr/>
        </p:nvPicPr>
        <p:blipFill rotWithShape="1">
          <a:blip r:embed="rId17"/>
          <a:srcRect r="67830"/>
          <a:stretch/>
        </p:blipFill>
        <p:spPr>
          <a:xfrm>
            <a:off x="7414049" y="3968334"/>
            <a:ext cx="438894" cy="392042"/>
          </a:xfrm>
          <a:prstGeom prst="rect">
            <a:avLst/>
          </a:prstGeom>
        </p:spPr>
      </p:pic>
      <p:sp>
        <p:nvSpPr>
          <p:cNvPr id="25" name="Rectangle 24">
            <a:extLst>
              <a:ext uri="{FF2B5EF4-FFF2-40B4-BE49-F238E27FC236}">
                <a16:creationId xmlns:a16="http://schemas.microsoft.com/office/drawing/2014/main" id="{57E2CD06-6889-23B4-2DA8-ACA31856DA79}"/>
              </a:ext>
            </a:extLst>
          </p:cNvPr>
          <p:cNvSpPr/>
          <p:nvPr/>
        </p:nvSpPr>
        <p:spPr>
          <a:xfrm>
            <a:off x="-600744" y="7245424"/>
            <a:ext cx="10369152" cy="338554"/>
          </a:xfrm>
          <a:prstGeom prst="rect">
            <a:avLst/>
          </a:prstGeom>
          <a:ln w="12700">
            <a:noFill/>
            <a:prstDash val="dash"/>
          </a:ln>
        </p:spPr>
        <p:txBody>
          <a:bodyPr wrap="square" anchor="ctr">
            <a:spAutoFit/>
          </a:bodyPr>
          <a:lstStyle/>
          <a:p>
            <a:r>
              <a:rPr lang="en-US" sz="800" baseline="30000"/>
              <a:t>  </a:t>
            </a:r>
            <a:r>
              <a:rPr lang="en-US" sz="800"/>
              <a:t> </a:t>
            </a:r>
            <a:r>
              <a:rPr lang="en-US" sz="800" baseline="30000"/>
              <a:t>1</a:t>
            </a:r>
            <a:endParaRPr lang="en-US" sz="800"/>
          </a:p>
          <a:p>
            <a:endParaRPr lang="en-US" sz="800"/>
          </a:p>
        </p:txBody>
      </p:sp>
      <p:sp>
        <p:nvSpPr>
          <p:cNvPr id="66" name="Rectangle 65">
            <a:extLst>
              <a:ext uri="{FF2B5EF4-FFF2-40B4-BE49-F238E27FC236}">
                <a16:creationId xmlns:a16="http://schemas.microsoft.com/office/drawing/2014/main" id="{8FF7F3B3-32AC-4750-266A-C7ECFC1D1843}"/>
              </a:ext>
            </a:extLst>
          </p:cNvPr>
          <p:cNvSpPr/>
          <p:nvPr/>
        </p:nvSpPr>
        <p:spPr>
          <a:xfrm>
            <a:off x="690668" y="6309063"/>
            <a:ext cx="10369152" cy="338554"/>
          </a:xfrm>
          <a:prstGeom prst="rect">
            <a:avLst/>
          </a:prstGeom>
        </p:spPr>
        <p:txBody>
          <a:bodyPr/>
          <a:lstStyle/>
          <a:p>
            <a:r>
              <a:rPr kumimoji="0" lang="en-US" sz="700" b="0" i="0" u="none" strike="noStrike" kern="1200" cap="none" spc="0" normalizeH="0" baseline="0" noProof="0">
                <a:ln>
                  <a:noFill/>
                </a:ln>
                <a:solidFill>
                  <a:srgbClr val="373737"/>
                </a:solidFill>
                <a:effectLst/>
                <a:uLnTx/>
                <a:uFillTx/>
                <a:latin typeface="The Wave Sans TT"/>
                <a:ea typeface="+mn-ea"/>
                <a:cs typeface="+mn-cs"/>
              </a:rPr>
              <a:t>Notes: </a:t>
            </a:r>
            <a:r>
              <a:rPr kumimoji="0" lang="en-US" sz="700" b="0" i="0" u="none" strike="noStrike" kern="1200" cap="none" spc="0" normalizeH="0" baseline="30000" noProof="0">
                <a:ln>
                  <a:noFill/>
                </a:ln>
                <a:solidFill>
                  <a:srgbClr val="373737"/>
                </a:solidFill>
                <a:effectLst/>
                <a:uLnTx/>
                <a:uFillTx/>
                <a:latin typeface="The Wave Sans TT"/>
                <a:ea typeface="+mn-ea"/>
                <a:cs typeface="+mn-cs"/>
              </a:rPr>
              <a:t>1 </a:t>
            </a:r>
            <a:r>
              <a:rPr lang="en-US" sz="700">
                <a:solidFill>
                  <a:srgbClr val="373737"/>
                </a:solidFill>
                <a:latin typeface="The Wave Sans TT"/>
              </a:rPr>
              <a:t> POIH: Paneuropean Oil and Industrial Holdings (Cyprus) Limited; As of 31.12.2024, the Hellenic Republic Asset Development Fund (‘HRADF’) has been absorbed by the Hellenic Corporation of Assets and Participations S.A. (‘GROWTHFUND’). </a:t>
            </a:r>
            <a:r>
              <a:rPr lang="en-US" sz="700" baseline="30000">
                <a:solidFill>
                  <a:srgbClr val="373737"/>
                </a:solidFill>
                <a:latin typeface="The Wave Sans TT"/>
              </a:rPr>
              <a:t>2 </a:t>
            </a:r>
            <a:r>
              <a:rPr lang="en-US" sz="700">
                <a:solidFill>
                  <a:srgbClr val="373737"/>
                </a:solidFill>
                <a:latin typeface="The Wave Sans TT"/>
              </a:rPr>
              <a:t>Agreed to acquire the remaining 50% of the share capital of </a:t>
            </a:r>
            <a:r>
              <a:rPr lang="en-US" sz="700" err="1">
                <a:solidFill>
                  <a:srgbClr val="373737"/>
                </a:solidFill>
                <a:latin typeface="The Wave Sans TT"/>
              </a:rPr>
              <a:t>Elpedison</a:t>
            </a:r>
            <a:r>
              <a:rPr lang="en-US" sz="700">
                <a:solidFill>
                  <a:srgbClr val="373737"/>
                </a:solidFill>
                <a:latin typeface="The Wave Sans TT"/>
              </a:rPr>
              <a:t> - transaction expected to be completed in 3Q25</a:t>
            </a:r>
          </a:p>
        </p:txBody>
      </p:sp>
      <p:sp>
        <p:nvSpPr>
          <p:cNvPr id="2" name="Slide Number Placeholder 1">
            <a:extLst>
              <a:ext uri="{FF2B5EF4-FFF2-40B4-BE49-F238E27FC236}">
                <a16:creationId xmlns:a16="http://schemas.microsoft.com/office/drawing/2014/main" id="{8ADD87E3-1FAA-81E6-EE8A-99F21C9E7C60}"/>
              </a:ext>
            </a:extLst>
          </p:cNvPr>
          <p:cNvSpPr>
            <a:spLocks noGrp="1"/>
          </p:cNvSpPr>
          <p:nvPr>
            <p:ph type="sldNum" sz="quarter" idx="12"/>
          </p:nvPr>
        </p:nvSpPr>
        <p:spPr/>
        <p:txBody>
          <a:bodyPr/>
          <a:lstStyle/>
          <a:p>
            <a:fld id="{4531D9DC-ADF0-4D0A-8902-0133E3C6D94B}" type="slidenum">
              <a:rPr lang="en-US" smtClean="0"/>
              <a:pPr/>
              <a:t>37</a:t>
            </a:fld>
            <a:endParaRPr lang="en-US"/>
          </a:p>
        </p:txBody>
      </p:sp>
    </p:spTree>
    <p:extLst>
      <p:ext uri="{BB962C8B-B14F-4D97-AF65-F5344CB8AC3E}">
        <p14:creationId xmlns:p14="http://schemas.microsoft.com/office/powerpoint/2010/main" val="1402781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5" name="think-cell data - do not delete" hidden="1">
            <a:extLst>
              <a:ext uri="{FF2B5EF4-FFF2-40B4-BE49-F238E27FC236}">
                <a16:creationId xmlns:a16="http://schemas.microsoft.com/office/drawing/2014/main" id="{944DBFDE-CA06-2F81-A43C-9EE37CC930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706" imgH="470" progId="TCLayout.ActiveDocument.1">
                  <p:embed/>
                </p:oleObj>
              </mc:Choice>
              <mc:Fallback>
                <p:oleObj name="think-cell Slide" r:id="rId8" imgW="706" imgH="470" progId="TCLayout.ActiveDocument.1">
                  <p:embed/>
                  <p:pic>
                    <p:nvPicPr>
                      <p:cNvPr id="265" name="think-cell data - do not delete" hidden="1">
                        <a:extLst>
                          <a:ext uri="{FF2B5EF4-FFF2-40B4-BE49-F238E27FC236}">
                            <a16:creationId xmlns:a16="http://schemas.microsoft.com/office/drawing/2014/main" id="{944DBFDE-CA06-2F81-A43C-9EE37CC930B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AC6002A-B522-BE93-A959-7F92B87C52B2}"/>
              </a:ext>
            </a:extLst>
          </p:cNvPr>
          <p:cNvSpPr>
            <a:spLocks noGrp="1"/>
          </p:cNvSpPr>
          <p:nvPr>
            <p:ph type="title"/>
          </p:nvPr>
        </p:nvSpPr>
        <p:spPr>
          <a:xfrm>
            <a:off x="264258" y="370533"/>
            <a:ext cx="11485276" cy="615553"/>
          </a:xfrm>
        </p:spPr>
        <p:txBody>
          <a:bodyPr vert="horz"/>
          <a:lstStyle/>
          <a:p>
            <a:pPr marL="173038"/>
            <a:r>
              <a:rPr lang="en-US" sz="2000"/>
              <a:t>RES to grow significantly; SEE region with even higher RES growth, benefiting from conventional power phase-out and government policies</a:t>
            </a:r>
          </a:p>
        </p:txBody>
      </p:sp>
      <p:sp>
        <p:nvSpPr>
          <p:cNvPr id="1027" name="TextBox 1026">
            <a:extLst>
              <a:ext uri="{FF2B5EF4-FFF2-40B4-BE49-F238E27FC236}">
                <a16:creationId xmlns:a16="http://schemas.microsoft.com/office/drawing/2014/main" id="{B2CFF875-3F32-764F-053E-2E83B2E51AB6}"/>
              </a:ext>
            </a:extLst>
          </p:cNvPr>
          <p:cNvSpPr txBox="1"/>
          <p:nvPr/>
        </p:nvSpPr>
        <p:spPr>
          <a:xfrm>
            <a:off x="6277104" y="1321022"/>
            <a:ext cx="53636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0"/>
              </a:spcBef>
              <a:spcAft>
                <a:spcPts val="600"/>
              </a:spcAft>
              <a:buClrTx/>
              <a:buSzTx/>
              <a:buNone/>
              <a:tabLst/>
              <a:defRPr/>
            </a:pPr>
            <a:r>
              <a:rPr lang="en-US" sz="1400">
                <a:latin typeface="The Wave Sans TT"/>
              </a:rPr>
              <a:t>Natural resources and </a:t>
            </a:r>
            <a:r>
              <a:rPr kumimoji="0" lang="en-US" sz="14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NECP</a:t>
            </a:r>
            <a:r>
              <a:rPr kumimoji="0" lang="en-US" sz="1400" b="1" i="0" u="none" strike="noStrike" kern="1200" cap="none" spc="0" normalizeH="0" baseline="30000" noProof="0">
                <a:ln>
                  <a:noFill/>
                </a:ln>
                <a:solidFill>
                  <a:srgbClr val="0032A0"/>
                </a:solidFill>
                <a:effectLst/>
                <a:uLnTx/>
                <a:uFillTx/>
                <a:latin typeface="The Wave Sans TT"/>
                <a:ea typeface="+mn-ea"/>
                <a:cs typeface="Arial" panose="020B0604020202020204" pitchFamily="34" charset="0"/>
              </a:rPr>
              <a:t>1</a:t>
            </a:r>
            <a:r>
              <a:rPr kumimoji="0" lang="en-US" sz="14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 Policies to Drive RES Development</a:t>
            </a:r>
          </a:p>
        </p:txBody>
      </p:sp>
      <p:sp>
        <p:nvSpPr>
          <p:cNvPr id="1055" name="TextBox 1054">
            <a:extLst>
              <a:ext uri="{FF2B5EF4-FFF2-40B4-BE49-F238E27FC236}">
                <a16:creationId xmlns:a16="http://schemas.microsoft.com/office/drawing/2014/main" id="{03040E39-DF57-3CC8-4F9A-1EDE5425AAB3}"/>
              </a:ext>
            </a:extLst>
          </p:cNvPr>
          <p:cNvSpPr txBox="1">
            <a:spLocks/>
          </p:cNvSpPr>
          <p:nvPr/>
        </p:nvSpPr>
        <p:spPr>
          <a:xfrm>
            <a:off x="7320136" y="1988840"/>
            <a:ext cx="4063374" cy="439325"/>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a:ln>
                  <a:noFill/>
                </a:ln>
                <a:solidFill>
                  <a:srgbClr val="0032A0"/>
                </a:solidFill>
                <a:effectLst/>
                <a:uLnTx/>
                <a:uFillTx/>
                <a:latin typeface="The Wave Sans TT (Body)"/>
                <a:ea typeface="+mn-ea"/>
                <a:cs typeface="+mn-cs"/>
              </a:rPr>
              <a:t>Greece </a:t>
            </a:r>
            <a:r>
              <a:rPr kumimoji="0" lang="en-US" sz="1400" b="0" i="0" u="none" strike="noStrike" kern="1200" cap="none" spc="0" normalizeH="0" baseline="0" noProof="0">
                <a:ln>
                  <a:noFill/>
                </a:ln>
                <a:solidFill>
                  <a:srgbClr val="000000"/>
                </a:solidFill>
                <a:effectLst/>
                <a:uLnTx/>
                <a:uFillTx/>
                <a:latin typeface="The Wave Sans TT (Body)"/>
                <a:ea typeface="+mn-ea"/>
                <a:cs typeface="+mn-cs"/>
              </a:rPr>
              <a:t>has</a:t>
            </a:r>
            <a:r>
              <a:rPr kumimoji="0" lang="en-US" sz="1400" b="1" i="0" u="none" strike="noStrike" kern="1200" cap="none" spc="0" normalizeH="0" baseline="0" noProof="0">
                <a:ln>
                  <a:noFill/>
                </a:ln>
                <a:solidFill>
                  <a:srgbClr val="0032A0"/>
                </a:solidFill>
                <a:effectLst/>
                <a:uLnTx/>
                <a:uFillTx/>
                <a:latin typeface="The Wave Sans TT (Body)"/>
                <a:ea typeface="+mn-ea"/>
                <a:cs typeface="+mn-cs"/>
              </a:rPr>
              <a:t> abundant wind </a:t>
            </a:r>
            <a:r>
              <a:rPr kumimoji="0" lang="en-US" sz="1400" b="0" i="0" u="none" strike="noStrike" kern="1200" cap="none" spc="0" normalizeH="0" baseline="0" noProof="0">
                <a:ln>
                  <a:noFill/>
                </a:ln>
                <a:solidFill>
                  <a:srgbClr val="000000"/>
                </a:solidFill>
                <a:effectLst/>
                <a:uLnTx/>
                <a:uFillTx/>
                <a:latin typeface="The Wave Sans TT (Body)"/>
                <a:ea typeface="+mn-ea"/>
                <a:cs typeface="+mn-cs"/>
              </a:rPr>
              <a:t>and</a:t>
            </a:r>
            <a:r>
              <a:rPr kumimoji="0" lang="en-US" sz="1400" b="1" i="0" u="none" strike="noStrike" kern="1200" cap="none" spc="0" normalizeH="0" baseline="0" noProof="0">
                <a:ln>
                  <a:noFill/>
                </a:ln>
                <a:solidFill>
                  <a:srgbClr val="0032A0"/>
                </a:solidFill>
                <a:effectLst/>
                <a:uLnTx/>
                <a:uFillTx/>
                <a:latin typeface="The Wave Sans TT (Body)"/>
                <a:ea typeface="+mn-ea"/>
                <a:cs typeface="+mn-cs"/>
              </a:rPr>
              <a:t> solar resources</a:t>
            </a:r>
          </a:p>
        </p:txBody>
      </p:sp>
      <p:graphicFrame>
        <p:nvGraphicFramePr>
          <p:cNvPr id="2" name="Chart 1">
            <a:extLst>
              <a:ext uri="{FF2B5EF4-FFF2-40B4-BE49-F238E27FC236}">
                <a16:creationId xmlns:a16="http://schemas.microsoft.com/office/drawing/2014/main" id="{B57C12C2-178F-E661-ECDF-5AD61D3D41CD}"/>
              </a:ext>
            </a:extLst>
          </p:cNvPr>
          <p:cNvGraphicFramePr/>
          <p:nvPr/>
        </p:nvGraphicFramePr>
        <p:xfrm>
          <a:off x="366314" y="1790966"/>
          <a:ext cx="5640582" cy="2392996"/>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a:extLst>
              <a:ext uri="{FF2B5EF4-FFF2-40B4-BE49-F238E27FC236}">
                <a16:creationId xmlns:a16="http://schemas.microsoft.com/office/drawing/2014/main" id="{A8AACFE9-7813-4C32-6AF7-BCECB0FDC008}"/>
              </a:ext>
            </a:extLst>
          </p:cNvPr>
          <p:cNvSpPr txBox="1"/>
          <p:nvPr/>
        </p:nvSpPr>
        <p:spPr>
          <a:xfrm>
            <a:off x="621266" y="1320825"/>
            <a:ext cx="316475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Wind and PV Installed Capacity (GW)</a:t>
            </a:r>
          </a:p>
        </p:txBody>
      </p:sp>
      <p:pic>
        <p:nvPicPr>
          <p:cNvPr id="32" name="Picture 82" descr="G:\FLAGS_ALL COUNTRIES\Round Flags\greece_round_icon_640.png">
            <a:extLst>
              <a:ext uri="{FF2B5EF4-FFF2-40B4-BE49-F238E27FC236}">
                <a16:creationId xmlns:a16="http://schemas.microsoft.com/office/drawing/2014/main" id="{14BAFC6F-4ED6-BF6C-9F8C-346DFCCD354A}"/>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1143509" y="4708128"/>
            <a:ext cx="309151" cy="23190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79" descr="G:\FLAGS_ALL COUNTRIES\Round Flags\romania_round_icon_640.png">
            <a:extLst>
              <a:ext uri="{FF2B5EF4-FFF2-40B4-BE49-F238E27FC236}">
                <a16:creationId xmlns:a16="http://schemas.microsoft.com/office/drawing/2014/main" id="{CA32298E-2E46-4FA4-FC53-28A5010C15C6}"/>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2478420" y="4708128"/>
            <a:ext cx="309151" cy="23190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Right ">
            <a:extLst>
              <a:ext uri="{FF2B5EF4-FFF2-40B4-BE49-F238E27FC236}">
                <a16:creationId xmlns:a16="http://schemas.microsoft.com/office/drawing/2014/main" id="{851D0E26-A7A8-3086-AD90-E55CE62B83E3}"/>
              </a:ext>
            </a:extLst>
          </p:cNvPr>
          <p:cNvPicPr>
            <a:picLocks noChangeAspect="1" noChangeArrowheads="1"/>
          </p:cNvPicPr>
          <p:nvPr/>
        </p:nvPicPr>
        <p:blipFill>
          <a:blip r:embed="rId13" cstate="screen">
            <a:duotone>
              <a:schemeClr val="accent4">
                <a:shade val="45000"/>
                <a:satMod val="135000"/>
              </a:schemeClr>
              <a:prstClr val="white"/>
            </a:duotone>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0844143">
            <a:off x="861512" y="2724415"/>
            <a:ext cx="748002" cy="56876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799BD1B2-268A-9279-A1FB-FCB8B349401B}"/>
              </a:ext>
            </a:extLst>
          </p:cNvPr>
          <p:cNvSpPr txBox="1"/>
          <p:nvPr/>
        </p:nvSpPr>
        <p:spPr>
          <a:xfrm>
            <a:off x="891435" y="2418126"/>
            <a:ext cx="670013" cy="246221"/>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600"/>
              </a:spcBef>
              <a:spcAft>
                <a:spcPts val="0"/>
              </a:spcAft>
              <a:buClr>
                <a:srgbClr val="0032A0"/>
              </a:buClr>
              <a:buSzTx/>
              <a:buFontTx/>
              <a:buNone/>
              <a:tabLst/>
              <a:defRPr/>
            </a:pPr>
            <a:r>
              <a:rPr kumimoji="0" lang="en-US" sz="1600" b="1" i="0" u="none" strike="noStrike" kern="1200" cap="none" spc="0" normalizeH="0" baseline="0" noProof="0">
                <a:ln>
                  <a:noFill/>
                </a:ln>
                <a:solidFill>
                  <a:srgbClr val="03C3F8">
                    <a:lumMod val="50000"/>
                  </a:srgbClr>
                </a:solidFill>
                <a:effectLst/>
                <a:uLnTx/>
                <a:uFillTx/>
                <a:latin typeface="The Wave Sans TT"/>
                <a:ea typeface="+mn-ea"/>
                <a:cs typeface="+mn-cs"/>
              </a:rPr>
              <a:t>+160%</a:t>
            </a:r>
          </a:p>
        </p:txBody>
      </p:sp>
      <p:sp>
        <p:nvSpPr>
          <p:cNvPr id="42" name="TextBox 41">
            <a:extLst>
              <a:ext uri="{FF2B5EF4-FFF2-40B4-BE49-F238E27FC236}">
                <a16:creationId xmlns:a16="http://schemas.microsoft.com/office/drawing/2014/main" id="{F0DDA5D3-1B93-2936-73C1-E0E671673144}"/>
              </a:ext>
            </a:extLst>
          </p:cNvPr>
          <p:cNvSpPr txBox="1"/>
          <p:nvPr/>
        </p:nvSpPr>
        <p:spPr>
          <a:xfrm>
            <a:off x="3559140" y="4518126"/>
            <a:ext cx="817533"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1"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Other Balkans</a:t>
            </a:r>
          </a:p>
        </p:txBody>
      </p:sp>
      <p:sp>
        <p:nvSpPr>
          <p:cNvPr id="4" name="TextBox 3">
            <a:extLst>
              <a:ext uri="{FF2B5EF4-FFF2-40B4-BE49-F238E27FC236}">
                <a16:creationId xmlns:a16="http://schemas.microsoft.com/office/drawing/2014/main" id="{A9A60F4B-8547-CBAA-2BA5-BB372F9FD274}"/>
              </a:ext>
            </a:extLst>
          </p:cNvPr>
          <p:cNvSpPr txBox="1">
            <a:spLocks/>
          </p:cNvSpPr>
          <p:nvPr/>
        </p:nvSpPr>
        <p:spPr>
          <a:xfrm>
            <a:off x="7320136" y="4015252"/>
            <a:ext cx="4063374" cy="527192"/>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1" i="0" u="none" strike="noStrike" kern="1200" cap="none" spc="0" normalizeH="0" baseline="0" noProof="0">
                <a:ln>
                  <a:noFill/>
                </a:ln>
                <a:solidFill>
                  <a:srgbClr val="0032A0"/>
                </a:solidFill>
                <a:effectLst/>
                <a:uLnTx/>
                <a:uFillTx/>
                <a:latin typeface="The Wave Sans TT (Body)"/>
                <a:ea typeface="+mn-ea"/>
                <a:cs typeface="+mn-cs"/>
              </a:rPr>
              <a:t>Investment support </a:t>
            </a:r>
            <a:r>
              <a:rPr kumimoji="0" lang="en-US" sz="1400" b="0" i="0" u="none" strike="noStrike" kern="1200" cap="none" spc="0" normalizeH="0" baseline="0" noProof="0">
                <a:ln>
                  <a:noFill/>
                </a:ln>
                <a:solidFill>
                  <a:srgbClr val="000000"/>
                </a:solidFill>
                <a:effectLst/>
                <a:uLnTx/>
                <a:uFillTx/>
                <a:latin typeface="The Wave Sans TT (Body)"/>
                <a:ea typeface="+mn-ea"/>
                <a:cs typeface="+mn-cs"/>
              </a:rPr>
              <a:t>for different types of </a:t>
            </a:r>
            <a:r>
              <a:rPr kumimoji="0" lang="en-US" sz="1400" b="1" i="0" u="none" strike="noStrike" kern="1200" cap="none" spc="0" normalizeH="0" baseline="0" noProof="0">
                <a:ln>
                  <a:noFill/>
                </a:ln>
                <a:solidFill>
                  <a:srgbClr val="0032A0"/>
                </a:solidFill>
                <a:effectLst/>
                <a:uLnTx/>
                <a:uFillTx/>
                <a:latin typeface="The Wave Sans TT (Body)"/>
                <a:ea typeface="+mn-ea"/>
                <a:cs typeface="+mn-cs"/>
              </a:rPr>
              <a:t>RES producers and Energy Storage</a:t>
            </a:r>
          </a:p>
        </p:txBody>
      </p:sp>
      <p:sp>
        <p:nvSpPr>
          <p:cNvPr id="9" name="TextBox 8">
            <a:extLst>
              <a:ext uri="{FF2B5EF4-FFF2-40B4-BE49-F238E27FC236}">
                <a16:creationId xmlns:a16="http://schemas.microsoft.com/office/drawing/2014/main" id="{49B0E95C-ABE0-618B-2AC7-C21E919AB69C}"/>
              </a:ext>
            </a:extLst>
          </p:cNvPr>
          <p:cNvSpPr txBox="1">
            <a:spLocks/>
          </p:cNvSpPr>
          <p:nvPr/>
        </p:nvSpPr>
        <p:spPr>
          <a:xfrm>
            <a:off x="7320136" y="5172831"/>
            <a:ext cx="4063374" cy="58355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a:ln>
                  <a:noFill/>
                </a:ln>
                <a:solidFill>
                  <a:srgbClr val="000000"/>
                </a:solidFill>
                <a:effectLst/>
                <a:uLnTx/>
                <a:uFillTx/>
                <a:latin typeface="The Wave Sans TT (Body)"/>
                <a:ea typeface="+mn-ea"/>
                <a:cs typeface="+mn-cs"/>
              </a:rPr>
              <a:t>Grid development to accommodate </a:t>
            </a:r>
            <a:r>
              <a:rPr kumimoji="0" lang="en-US" sz="1400" b="1" i="0" u="none" strike="noStrike" kern="1200" cap="none" spc="0" normalizeH="0" baseline="0" noProof="0">
                <a:ln>
                  <a:noFill/>
                </a:ln>
                <a:solidFill>
                  <a:srgbClr val="0032A0"/>
                </a:solidFill>
                <a:effectLst/>
                <a:uLnTx/>
                <a:uFillTx/>
                <a:latin typeface="The Wave Sans TT (Body)"/>
                <a:ea typeface="+mn-ea"/>
                <a:cs typeface="+mn-cs"/>
              </a:rPr>
              <a:t>energy transition</a:t>
            </a:r>
            <a:endParaRPr kumimoji="0" lang="en-US" sz="1400" b="1" i="0" u="none" strike="noStrike" kern="1200" cap="none" spc="0" normalizeH="0" baseline="0" noProof="0">
              <a:ln>
                <a:noFill/>
              </a:ln>
              <a:solidFill>
                <a:srgbClr val="0032A0"/>
              </a:solidFill>
              <a:effectLst/>
              <a:uLnTx/>
              <a:uFillTx/>
              <a:latin typeface="Arial"/>
              <a:ea typeface="+mn-ea"/>
              <a:cs typeface="+mn-cs"/>
            </a:endParaRPr>
          </a:p>
          <a:p>
            <a:pPr marL="171450" marR="0" lvl="0" indent="-171450" algn="l" defTabSz="914400" eaLnBrk="1" fontAlgn="auto" latinLnBrk="0" hangingPunct="1">
              <a:lnSpc>
                <a:spcPct val="100000"/>
              </a:lnSpc>
              <a:spcBef>
                <a:spcPts val="300"/>
              </a:spcBef>
              <a:spcAft>
                <a:spcPts val="300"/>
              </a:spcAft>
              <a:buClr>
                <a:srgbClr val="000000"/>
              </a:buClr>
              <a:buSzPct val="100000"/>
              <a:buFont typeface="Wingdings" pitchFamily="2" charset="2"/>
              <a:buChar char="§"/>
              <a:tabLst/>
              <a:defRPr/>
            </a:pPr>
            <a:endParaRPr kumimoji="0" lang="en-US" sz="1400" b="1" i="0" u="none" strike="noStrike" kern="1200" cap="none" spc="0" normalizeH="0" baseline="0" noProof="0">
              <a:ln>
                <a:noFill/>
              </a:ln>
              <a:solidFill>
                <a:srgbClr val="0032A0"/>
              </a:solidFill>
              <a:effectLst/>
              <a:uLnTx/>
              <a:uFillTx/>
              <a:latin typeface="Arial"/>
              <a:ea typeface="+mn-ea"/>
              <a:cs typeface="+mn-cs"/>
            </a:endParaRPr>
          </a:p>
          <a:p>
            <a:pPr marL="171450" marR="0" lvl="0" indent="-171450" algn="l" defTabSz="914400" eaLnBrk="1" fontAlgn="auto" latinLnBrk="0" hangingPunct="1">
              <a:lnSpc>
                <a:spcPct val="100000"/>
              </a:lnSpc>
              <a:spcBef>
                <a:spcPts val="300"/>
              </a:spcBef>
              <a:spcAft>
                <a:spcPts val="300"/>
              </a:spcAft>
              <a:buClr>
                <a:srgbClr val="000000"/>
              </a:buClr>
              <a:buSzPct val="100000"/>
              <a:buFont typeface="Wingdings" pitchFamily="2" charset="2"/>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pic>
        <p:nvPicPr>
          <p:cNvPr id="1026" name="Picture 2" descr="Investment ">
            <a:extLst>
              <a:ext uri="{FF2B5EF4-FFF2-40B4-BE49-F238E27FC236}">
                <a16:creationId xmlns:a16="http://schemas.microsoft.com/office/drawing/2014/main" id="{3281C9C2-70E5-55D5-4F19-2363F12F64D7}"/>
              </a:ext>
            </a:extLst>
          </p:cNvPr>
          <p:cNvPicPr>
            <a:picLocks noChangeAspect="1" noChangeArrowheads="1"/>
          </p:cNvPicPr>
          <p:nvPr/>
        </p:nvPicPr>
        <p:blipFill>
          <a:blip r:embed="rId15"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49094" y="4005064"/>
            <a:ext cx="583550" cy="5835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ower generation ">
            <a:extLst>
              <a:ext uri="{FF2B5EF4-FFF2-40B4-BE49-F238E27FC236}">
                <a16:creationId xmlns:a16="http://schemas.microsoft.com/office/drawing/2014/main" id="{EF8F8BBC-A8F4-F60E-7C64-769E4E7B94B2}"/>
              </a:ext>
            </a:extLst>
          </p:cNvPr>
          <p:cNvPicPr>
            <a:picLocks noChangeAspect="1" noChangeArrowheads="1"/>
          </p:cNvPicPr>
          <p:nvPr/>
        </p:nvPicPr>
        <p:blipFill>
          <a:blip r:embed="rId16"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49094" y="4884416"/>
            <a:ext cx="583550" cy="58355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93F9A422-8860-6269-F83D-4E4E44B7FC58}"/>
              </a:ext>
            </a:extLst>
          </p:cNvPr>
          <p:cNvSpPr txBox="1">
            <a:spLocks/>
          </p:cNvSpPr>
          <p:nvPr/>
        </p:nvSpPr>
        <p:spPr>
          <a:xfrm>
            <a:off x="1489752" y="5373216"/>
            <a:ext cx="1308806" cy="84638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400" b="1" i="0" u="none" strike="noStrike" cap="none" spc="0" normalizeH="0" baseline="0">
                <a:ln>
                  <a:noFill/>
                </a:ln>
                <a:solidFill>
                  <a:srgbClr val="0032A0"/>
                </a:solidFill>
                <a:effectLst/>
                <a:uLnTx/>
                <a:uFillTx/>
                <a:latin typeface="+mj-lt"/>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NECP</a:t>
            </a:r>
            <a:r>
              <a:rPr kumimoji="0" lang="en-US" sz="1400" b="1" i="0" u="none" strike="noStrike" kern="1200" cap="none" spc="0" normalizeH="0" baseline="30000" noProof="0">
                <a:ln>
                  <a:noFill/>
                </a:ln>
                <a:solidFill>
                  <a:srgbClr val="0032A0"/>
                </a:solidFill>
                <a:effectLst/>
                <a:uLnTx/>
                <a:uFillTx/>
                <a:latin typeface="The Wave Sans TT"/>
                <a:ea typeface="+mn-ea"/>
                <a:cs typeface="Arial" panose="020B0604020202020204" pitchFamily="34" charset="0"/>
              </a:rPr>
              <a:t>1</a:t>
            </a:r>
            <a:r>
              <a:rPr kumimoji="0" lang="en-US" sz="14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 Targets</a:t>
            </a:r>
          </a:p>
          <a:p>
            <a:pPr marL="0" marR="0" lvl="0" indent="0" algn="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RES as % of </a:t>
            </a:r>
            <a:r>
              <a:rPr lang="en-US" sz="1000" b="0">
                <a:solidFill>
                  <a:srgbClr val="373737"/>
                </a:solidFill>
                <a:latin typeface="The Wave Sans TT"/>
              </a:rPr>
              <a:t>gross electricity </a:t>
            </a: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consumption</a:t>
            </a:r>
          </a:p>
        </p:txBody>
      </p:sp>
      <p:grpSp>
        <p:nvGrpSpPr>
          <p:cNvPr id="1033" name="Group 1032">
            <a:extLst>
              <a:ext uri="{FF2B5EF4-FFF2-40B4-BE49-F238E27FC236}">
                <a16:creationId xmlns:a16="http://schemas.microsoft.com/office/drawing/2014/main" id="{49714535-7E6A-4321-E879-EAFBF4094994}"/>
              </a:ext>
            </a:extLst>
          </p:cNvPr>
          <p:cNvGrpSpPr/>
          <p:nvPr/>
        </p:nvGrpSpPr>
        <p:grpSpPr>
          <a:xfrm>
            <a:off x="3136955" y="5279367"/>
            <a:ext cx="688742" cy="813929"/>
            <a:chOff x="2974566" y="5207359"/>
            <a:chExt cx="688742" cy="813929"/>
          </a:xfrm>
        </p:grpSpPr>
        <p:sp>
          <p:nvSpPr>
            <p:cNvPr id="13" name="Oval 12">
              <a:extLst>
                <a:ext uri="{FF2B5EF4-FFF2-40B4-BE49-F238E27FC236}">
                  <a16:creationId xmlns:a16="http://schemas.microsoft.com/office/drawing/2014/main" id="{F0B4CB4A-6E0F-D819-8999-15B2B6AFBFF0}"/>
                </a:ext>
              </a:extLst>
            </p:cNvPr>
            <p:cNvSpPr>
              <a:spLocks noChangeAspect="1"/>
            </p:cNvSpPr>
            <p:nvPr/>
          </p:nvSpPr>
          <p:spPr>
            <a:xfrm>
              <a:off x="3140425" y="5207359"/>
              <a:ext cx="357025" cy="3570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eaLnBrk="1" fontAlgn="auto" latinLnBrk="0" hangingPunct="1">
                <a:lnSpc>
                  <a:spcPct val="100000"/>
                </a:lnSpc>
                <a:spcBef>
                  <a:spcPts val="600"/>
                </a:spcBef>
                <a:spcAft>
                  <a:spcPts val="0"/>
                </a:spcAft>
                <a:buClr>
                  <a:srgbClr val="0032A0"/>
                </a:buClr>
                <a:buSzTx/>
                <a:buFontTx/>
                <a:buNone/>
                <a:tabLst/>
                <a:defRPr/>
              </a:pPr>
              <a:r>
                <a:rPr kumimoji="0" lang="en-US" sz="1200" b="1" i="0" u="none" strike="noStrike" kern="1200" cap="none" spc="0" normalizeH="0" baseline="0" noProof="0">
                  <a:ln>
                    <a:noFill/>
                  </a:ln>
                  <a:solidFill>
                    <a:prstClr val="white"/>
                  </a:solidFill>
                  <a:effectLst/>
                  <a:uLnTx/>
                  <a:uFillTx/>
                  <a:latin typeface="The Wave Sans TT"/>
                  <a:ea typeface="+mn-ea"/>
                  <a:cs typeface="+mn-cs"/>
                </a:rPr>
                <a:t>43%</a:t>
              </a:r>
            </a:p>
          </p:txBody>
        </p:sp>
        <p:sp>
          <p:nvSpPr>
            <p:cNvPr id="45" name="TextBox 44">
              <a:extLst>
                <a:ext uri="{FF2B5EF4-FFF2-40B4-BE49-F238E27FC236}">
                  <a16:creationId xmlns:a16="http://schemas.microsoft.com/office/drawing/2014/main" id="{77E791DA-0BD4-42CC-ECED-0A5492FB68DC}"/>
                </a:ext>
              </a:extLst>
            </p:cNvPr>
            <p:cNvSpPr txBox="1"/>
            <p:nvPr/>
          </p:nvSpPr>
          <p:spPr>
            <a:xfrm>
              <a:off x="2974566" y="5744289"/>
              <a:ext cx="68874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200" b="1" i="0" u="none" strike="noStrike" kern="1200" cap="none" spc="0" normalizeH="0" baseline="0" noProof="0">
                  <a:ln>
                    <a:noFill/>
                  </a:ln>
                  <a:solidFill>
                    <a:srgbClr val="50E69B"/>
                  </a:solidFill>
                  <a:effectLst/>
                  <a:uLnTx/>
                  <a:uFillTx/>
                  <a:latin typeface="The Wave Sans TT"/>
                  <a:ea typeface="+mn-ea"/>
                  <a:cs typeface="Arial" panose="020B0604020202020204" pitchFamily="34" charset="0"/>
                </a:rPr>
                <a:t>By 2022</a:t>
              </a:r>
            </a:p>
          </p:txBody>
        </p:sp>
      </p:grpSp>
      <p:grpSp>
        <p:nvGrpSpPr>
          <p:cNvPr id="1032" name="Group 1031">
            <a:extLst>
              <a:ext uri="{FF2B5EF4-FFF2-40B4-BE49-F238E27FC236}">
                <a16:creationId xmlns:a16="http://schemas.microsoft.com/office/drawing/2014/main" id="{FC34247D-BA64-DB27-E3BF-F821EC41FF43}"/>
              </a:ext>
            </a:extLst>
          </p:cNvPr>
          <p:cNvGrpSpPr/>
          <p:nvPr/>
        </p:nvGrpSpPr>
        <p:grpSpPr>
          <a:xfrm>
            <a:off x="4164094" y="5220279"/>
            <a:ext cx="688742" cy="873017"/>
            <a:chOff x="4082900" y="5148271"/>
            <a:chExt cx="688742" cy="873017"/>
          </a:xfrm>
        </p:grpSpPr>
        <p:sp>
          <p:nvSpPr>
            <p:cNvPr id="20" name="Oval 19">
              <a:extLst>
                <a:ext uri="{FF2B5EF4-FFF2-40B4-BE49-F238E27FC236}">
                  <a16:creationId xmlns:a16="http://schemas.microsoft.com/office/drawing/2014/main" id="{57AA40A5-BC45-AAEC-9E4B-66B396FC9DDD}"/>
                </a:ext>
              </a:extLst>
            </p:cNvPr>
            <p:cNvSpPr>
              <a:spLocks noChangeAspect="1"/>
            </p:cNvSpPr>
            <p:nvPr/>
          </p:nvSpPr>
          <p:spPr>
            <a:xfrm>
              <a:off x="4189671" y="5148271"/>
              <a:ext cx="475201" cy="4752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eaLnBrk="1" fontAlgn="auto" latinLnBrk="0" hangingPunct="1">
                <a:lnSpc>
                  <a:spcPct val="100000"/>
                </a:lnSpc>
                <a:spcBef>
                  <a:spcPts val="600"/>
                </a:spcBef>
                <a:spcAft>
                  <a:spcPts val="0"/>
                </a:spcAft>
                <a:buClr>
                  <a:srgbClr val="0032A0"/>
                </a:buClr>
                <a:buSzTx/>
                <a:buFontTx/>
                <a:buNone/>
                <a:tabLst/>
                <a:defRPr/>
              </a:pPr>
              <a:r>
                <a:rPr lang="en-US" sz="1200" b="1">
                  <a:solidFill>
                    <a:prstClr val="white"/>
                  </a:solidFill>
                  <a:latin typeface="The Wave Sans TT"/>
                </a:rPr>
                <a:t>76</a:t>
              </a:r>
              <a:r>
                <a:rPr kumimoji="0" lang="en-US" sz="1200" b="1" i="0" u="none" strike="noStrike" kern="1200" cap="none" spc="0" normalizeH="0" baseline="0" noProof="0">
                  <a:ln>
                    <a:noFill/>
                  </a:ln>
                  <a:solidFill>
                    <a:prstClr val="white"/>
                  </a:solidFill>
                  <a:effectLst/>
                  <a:uLnTx/>
                  <a:uFillTx/>
                  <a:latin typeface="The Wave Sans TT"/>
                  <a:ea typeface="+mn-ea"/>
                  <a:cs typeface="+mn-cs"/>
                </a:rPr>
                <a:t>%</a:t>
              </a:r>
            </a:p>
          </p:txBody>
        </p:sp>
        <p:sp>
          <p:nvSpPr>
            <p:cNvPr id="55" name="TextBox 54">
              <a:extLst>
                <a:ext uri="{FF2B5EF4-FFF2-40B4-BE49-F238E27FC236}">
                  <a16:creationId xmlns:a16="http://schemas.microsoft.com/office/drawing/2014/main" id="{416904F5-5B67-8B5B-C7B1-3B2767C145B1}"/>
                </a:ext>
              </a:extLst>
            </p:cNvPr>
            <p:cNvSpPr txBox="1"/>
            <p:nvPr/>
          </p:nvSpPr>
          <p:spPr>
            <a:xfrm>
              <a:off x="4082900" y="5744289"/>
              <a:ext cx="68874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200" b="1" i="0" u="none" strike="noStrike" kern="1200" cap="none" spc="0" normalizeH="0" baseline="0" noProof="0">
                  <a:ln>
                    <a:noFill/>
                  </a:ln>
                  <a:solidFill>
                    <a:srgbClr val="0032A0"/>
                  </a:solidFill>
                  <a:effectLst/>
                  <a:uLnTx/>
                  <a:uFillTx/>
                  <a:latin typeface="The Wave Sans TT"/>
                  <a:ea typeface="+mn-ea"/>
                  <a:cs typeface="Arial" panose="020B0604020202020204" pitchFamily="34" charset="0"/>
                </a:rPr>
                <a:t>By 2030</a:t>
              </a:r>
            </a:p>
          </p:txBody>
        </p:sp>
      </p:grpSp>
      <p:grpSp>
        <p:nvGrpSpPr>
          <p:cNvPr id="1031" name="Group 1030">
            <a:extLst>
              <a:ext uri="{FF2B5EF4-FFF2-40B4-BE49-F238E27FC236}">
                <a16:creationId xmlns:a16="http://schemas.microsoft.com/office/drawing/2014/main" id="{7FAE5AB1-6B2F-0AFF-D3E0-3FB948F4C3CF}"/>
              </a:ext>
            </a:extLst>
          </p:cNvPr>
          <p:cNvGrpSpPr/>
          <p:nvPr/>
        </p:nvGrpSpPr>
        <p:grpSpPr>
          <a:xfrm>
            <a:off x="5191234" y="5170383"/>
            <a:ext cx="688742" cy="922913"/>
            <a:chOff x="5191234" y="5098375"/>
            <a:chExt cx="688742" cy="922913"/>
          </a:xfrm>
        </p:grpSpPr>
        <p:sp>
          <p:nvSpPr>
            <p:cNvPr id="21" name="Oval 20">
              <a:extLst>
                <a:ext uri="{FF2B5EF4-FFF2-40B4-BE49-F238E27FC236}">
                  <a16:creationId xmlns:a16="http://schemas.microsoft.com/office/drawing/2014/main" id="{83C53414-5BA5-F4BD-E86D-8BA98AFC0AA0}"/>
                </a:ext>
              </a:extLst>
            </p:cNvPr>
            <p:cNvSpPr>
              <a:spLocks noChangeAspect="1"/>
            </p:cNvSpPr>
            <p:nvPr/>
          </p:nvSpPr>
          <p:spPr>
            <a:xfrm>
              <a:off x="5248109" y="5098375"/>
              <a:ext cx="574993" cy="57499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eaLnBrk="1" fontAlgn="auto" latinLnBrk="0" hangingPunct="1">
                <a:lnSpc>
                  <a:spcPct val="100000"/>
                </a:lnSpc>
                <a:spcBef>
                  <a:spcPts val="600"/>
                </a:spcBef>
                <a:spcAft>
                  <a:spcPts val="0"/>
                </a:spcAft>
                <a:buClr>
                  <a:srgbClr val="0032A0"/>
                </a:buClr>
                <a:buSzTx/>
                <a:buFontTx/>
                <a:buNone/>
                <a:tabLst/>
                <a:defRPr/>
              </a:pPr>
              <a:r>
                <a:rPr lang="en-US" sz="1200" b="1">
                  <a:solidFill>
                    <a:prstClr val="white"/>
                  </a:solidFill>
                  <a:latin typeface="The Wave Sans TT"/>
                </a:rPr>
                <a:t>~100</a:t>
              </a:r>
              <a:r>
                <a:rPr kumimoji="0" lang="en-US" sz="1200" b="1" i="0" u="none" strike="noStrike" kern="1200" cap="none" spc="0" normalizeH="0" baseline="0" noProof="0">
                  <a:ln>
                    <a:noFill/>
                  </a:ln>
                  <a:solidFill>
                    <a:prstClr val="white"/>
                  </a:solidFill>
                  <a:effectLst/>
                  <a:uLnTx/>
                  <a:uFillTx/>
                  <a:latin typeface="The Wave Sans TT"/>
                  <a:ea typeface="+mn-ea"/>
                  <a:cs typeface="+mn-cs"/>
                </a:rPr>
                <a:t>%</a:t>
              </a:r>
            </a:p>
          </p:txBody>
        </p:sp>
        <p:sp>
          <p:nvSpPr>
            <p:cNvPr id="56" name="TextBox 55">
              <a:extLst>
                <a:ext uri="{FF2B5EF4-FFF2-40B4-BE49-F238E27FC236}">
                  <a16:creationId xmlns:a16="http://schemas.microsoft.com/office/drawing/2014/main" id="{18A89DB2-CE3A-DE68-D8B2-45BB0BB28376}"/>
                </a:ext>
              </a:extLst>
            </p:cNvPr>
            <p:cNvSpPr txBox="1"/>
            <p:nvPr/>
          </p:nvSpPr>
          <p:spPr>
            <a:xfrm>
              <a:off x="5191234" y="5744289"/>
              <a:ext cx="68874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200" b="1" i="0" u="none" strike="noStrike" kern="1200" cap="none" spc="0" normalizeH="0" baseline="0" noProof="0">
                  <a:ln>
                    <a:noFill/>
                  </a:ln>
                  <a:solidFill>
                    <a:srgbClr val="FFAA00"/>
                  </a:solidFill>
                  <a:effectLst/>
                  <a:uLnTx/>
                  <a:uFillTx/>
                  <a:latin typeface="The Wave Sans TT"/>
                  <a:ea typeface="+mn-ea"/>
                  <a:cs typeface="Arial" panose="020B0604020202020204" pitchFamily="34" charset="0"/>
                </a:rPr>
                <a:t>By 2050</a:t>
              </a:r>
            </a:p>
          </p:txBody>
        </p:sp>
      </p:grpSp>
      <p:sp>
        <p:nvSpPr>
          <p:cNvPr id="28" name="TextBox 27">
            <a:extLst>
              <a:ext uri="{FF2B5EF4-FFF2-40B4-BE49-F238E27FC236}">
                <a16:creationId xmlns:a16="http://schemas.microsoft.com/office/drawing/2014/main" id="{0AB9B094-A198-8FC5-941F-90D6CE34381F}"/>
              </a:ext>
            </a:extLst>
          </p:cNvPr>
          <p:cNvSpPr txBox="1"/>
          <p:nvPr/>
        </p:nvSpPr>
        <p:spPr>
          <a:xfrm>
            <a:off x="5006263" y="4518126"/>
            <a:ext cx="59311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1"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Eurozone</a:t>
            </a:r>
            <a:r>
              <a:rPr kumimoji="0" lang="en-US" sz="1000" b="1" i="0" u="none" strike="noStrike" kern="1200" cap="none" spc="0" normalizeH="0" baseline="30000" noProof="0">
                <a:ln>
                  <a:noFill/>
                </a:ln>
                <a:solidFill>
                  <a:srgbClr val="373737"/>
                </a:solidFill>
                <a:effectLst/>
                <a:uLnTx/>
                <a:uFillTx/>
                <a:latin typeface="The Wave Sans TT"/>
                <a:ea typeface="+mn-ea"/>
                <a:cs typeface="Arial" panose="020B0604020202020204" pitchFamily="34" charset="0"/>
              </a:rPr>
              <a:t>2</a:t>
            </a:r>
          </a:p>
        </p:txBody>
      </p:sp>
      <p:pic>
        <p:nvPicPr>
          <p:cNvPr id="31" name="Picture 2" descr="Right ">
            <a:extLst>
              <a:ext uri="{FF2B5EF4-FFF2-40B4-BE49-F238E27FC236}">
                <a16:creationId xmlns:a16="http://schemas.microsoft.com/office/drawing/2014/main" id="{D7D6080D-0C6A-3CBC-6CE6-CD9965721AAE}"/>
              </a:ext>
            </a:extLst>
          </p:cNvPr>
          <p:cNvPicPr>
            <a:picLocks noChangeAspect="1" noChangeArrowheads="1"/>
          </p:cNvPicPr>
          <p:nvPr/>
        </p:nvPicPr>
        <p:blipFill>
          <a:blip r:embed="rId17" cstate="screen">
            <a:duotone>
              <a:prstClr val="black"/>
              <a:srgbClr val="D9C3A5">
                <a:tint val="50000"/>
                <a:satMod val="180000"/>
              </a:srgbClr>
            </a:duotone>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0844143">
            <a:off x="4864977" y="2487416"/>
            <a:ext cx="584501" cy="265334"/>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1CAC1264-CA59-0921-6EEE-C34B1D658156}"/>
              </a:ext>
            </a:extLst>
          </p:cNvPr>
          <p:cNvSpPr txBox="1"/>
          <p:nvPr/>
        </p:nvSpPr>
        <p:spPr>
          <a:xfrm>
            <a:off x="4824889" y="2287672"/>
            <a:ext cx="399148" cy="161583"/>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600"/>
              </a:spcBef>
              <a:spcAft>
                <a:spcPts val="0"/>
              </a:spcAft>
              <a:buClr>
                <a:srgbClr val="0032A0"/>
              </a:buClr>
              <a:buSzTx/>
              <a:buFontTx/>
              <a:buNone/>
              <a:tabLst/>
              <a:defRPr/>
            </a:pPr>
            <a:r>
              <a:rPr kumimoji="0" lang="en-US" sz="1050" b="1" i="0" u="none" strike="noStrike" kern="1200" cap="none" spc="0" normalizeH="0" baseline="0" noProof="0">
                <a:ln>
                  <a:noFill/>
                </a:ln>
                <a:solidFill>
                  <a:srgbClr val="373737"/>
                </a:solidFill>
                <a:effectLst/>
                <a:uLnTx/>
                <a:uFillTx/>
                <a:latin typeface="The Wave Sans TT"/>
                <a:ea typeface="+mn-ea"/>
                <a:cs typeface="+mn-cs"/>
              </a:rPr>
              <a:t>+116%</a:t>
            </a:r>
          </a:p>
        </p:txBody>
      </p:sp>
      <p:pic>
        <p:nvPicPr>
          <p:cNvPr id="8" name="Picture 2" descr="Solar energy ">
            <a:extLst>
              <a:ext uri="{FF2B5EF4-FFF2-40B4-BE49-F238E27FC236}">
                <a16:creationId xmlns:a16="http://schemas.microsoft.com/office/drawing/2014/main" id="{BD3CE5A8-CC50-B02E-15DA-06A1E335670B}"/>
              </a:ext>
            </a:extLst>
          </p:cNvPr>
          <p:cNvPicPr>
            <a:picLocks noChangeAspect="1" noChangeArrowheads="1"/>
          </p:cNvPicPr>
          <p:nvPr/>
        </p:nvPicPr>
        <p:blipFill>
          <a:blip r:embed="rId19" cstate="screen">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21362" y="2096535"/>
            <a:ext cx="491964" cy="49196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Right ">
            <a:extLst>
              <a:ext uri="{FF2B5EF4-FFF2-40B4-BE49-F238E27FC236}">
                <a16:creationId xmlns:a16="http://schemas.microsoft.com/office/drawing/2014/main" id="{987D4960-34B8-BF9A-D98E-7B3EDE79303B}"/>
              </a:ext>
            </a:extLst>
          </p:cNvPr>
          <p:cNvPicPr>
            <a:picLocks noChangeAspect="1" noChangeArrowheads="1"/>
          </p:cNvPicPr>
          <p:nvPr/>
        </p:nvPicPr>
        <p:blipFill>
          <a:blip r:embed="rId20" cstate="screen">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0844143">
            <a:off x="2208320" y="3235366"/>
            <a:ext cx="656223" cy="3884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1B4D9823-448A-FFB8-83CD-949CB450B911}"/>
              </a:ext>
            </a:extLst>
          </p:cNvPr>
          <p:cNvSpPr txBox="1"/>
          <p:nvPr/>
        </p:nvSpPr>
        <p:spPr>
          <a:xfrm>
            <a:off x="2088736" y="3067778"/>
            <a:ext cx="445635" cy="161583"/>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600"/>
              </a:spcBef>
              <a:spcAft>
                <a:spcPts val="0"/>
              </a:spcAft>
              <a:buClr>
                <a:srgbClr val="0032A0"/>
              </a:buClr>
              <a:buSzTx/>
              <a:buFontTx/>
              <a:buNone/>
              <a:tabLst/>
              <a:defRPr/>
            </a:pPr>
            <a:r>
              <a:rPr kumimoji="0" lang="en-US" sz="1050" b="1" i="0" u="none" strike="noStrike" kern="1200" cap="none" spc="0" normalizeH="0" baseline="0" noProof="0">
                <a:ln>
                  <a:noFill/>
                </a:ln>
                <a:solidFill>
                  <a:srgbClr val="000000"/>
                </a:solidFill>
                <a:effectLst/>
                <a:uLnTx/>
                <a:uFillTx/>
                <a:latin typeface="The Wave Sans TT"/>
                <a:ea typeface="+mn-ea"/>
                <a:cs typeface="+mn-cs"/>
              </a:rPr>
              <a:t>+366%</a:t>
            </a:r>
          </a:p>
        </p:txBody>
      </p:sp>
      <p:sp>
        <p:nvSpPr>
          <p:cNvPr id="7" name="TextBox 6">
            <a:extLst>
              <a:ext uri="{FF2B5EF4-FFF2-40B4-BE49-F238E27FC236}">
                <a16:creationId xmlns:a16="http://schemas.microsoft.com/office/drawing/2014/main" id="{E6E9D5F0-43A0-9FB4-EF09-22120ED80AE0}"/>
              </a:ext>
            </a:extLst>
          </p:cNvPr>
          <p:cNvSpPr txBox="1"/>
          <p:nvPr/>
        </p:nvSpPr>
        <p:spPr>
          <a:xfrm>
            <a:off x="1099312" y="4517477"/>
            <a:ext cx="39754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1"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Greece</a:t>
            </a:r>
          </a:p>
        </p:txBody>
      </p:sp>
      <p:sp>
        <p:nvSpPr>
          <p:cNvPr id="18" name="TextBox 17">
            <a:extLst>
              <a:ext uri="{FF2B5EF4-FFF2-40B4-BE49-F238E27FC236}">
                <a16:creationId xmlns:a16="http://schemas.microsoft.com/office/drawing/2014/main" id="{0EADB5AF-7D41-2628-31D4-FB0C1A2285BE}"/>
              </a:ext>
            </a:extLst>
          </p:cNvPr>
          <p:cNvSpPr txBox="1"/>
          <p:nvPr/>
        </p:nvSpPr>
        <p:spPr>
          <a:xfrm>
            <a:off x="2376515" y="4517477"/>
            <a:ext cx="51296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1"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Romania</a:t>
            </a:r>
          </a:p>
        </p:txBody>
      </p:sp>
      <p:cxnSp>
        <p:nvCxnSpPr>
          <p:cNvPr id="36" name="LineSpecialityArrow 36">
            <a:extLst>
              <a:ext uri="{FF2B5EF4-FFF2-40B4-BE49-F238E27FC236}">
                <a16:creationId xmlns:a16="http://schemas.microsoft.com/office/drawing/2014/main" id="{E6C78BA0-C6B4-9378-94FC-8F45EC68EF81}"/>
              </a:ext>
            </a:extLst>
          </p:cNvPr>
          <p:cNvCxnSpPr>
            <a:cxnSpLocks noChangeAspect="1"/>
            <a:stCxn id="32" idx="2"/>
            <a:endCxn id="38" idx="1"/>
          </p:cNvCxnSpPr>
          <p:nvPr>
            <p:custDataLst>
              <p:tags r:id="rId2"/>
            </p:custDataLst>
          </p:nvPr>
        </p:nvCxnSpPr>
        <p:spPr>
          <a:xfrm rot="16200000" flipH="1">
            <a:off x="965732" y="5272388"/>
            <a:ext cx="856373" cy="191667"/>
          </a:xfrm>
          <a:prstGeom prst="bentConnector2">
            <a:avLst/>
          </a:prstGeom>
          <a:ln w="9525" cap="rnd">
            <a:solidFill>
              <a:schemeClr val="accent1"/>
            </a:solidFill>
            <a:prstDash val="lgDash"/>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9" name="GreyLineContentSeparatorDefault 59">
            <a:extLst>
              <a:ext uri="{FF2B5EF4-FFF2-40B4-BE49-F238E27FC236}">
                <a16:creationId xmlns:a16="http://schemas.microsoft.com/office/drawing/2014/main" id="{9B7682BE-B304-71CF-8059-D3093DF27F99}"/>
              </a:ext>
            </a:extLst>
          </p:cNvPr>
          <p:cNvCxnSpPr>
            <a:cxnSpLocks/>
          </p:cNvCxnSpPr>
          <p:nvPr>
            <p:custDataLst>
              <p:tags r:id="rId3"/>
            </p:custDataLst>
          </p:nvPr>
        </p:nvCxnSpPr>
        <p:spPr>
          <a:xfrm>
            <a:off x="1484033" y="5017859"/>
            <a:ext cx="4431423" cy="0"/>
          </a:xfrm>
          <a:prstGeom prst="straightConnector1">
            <a:avLst/>
          </a:prstGeom>
          <a:ln w="6350" cap="rnd">
            <a:solidFill>
              <a:srgbClr val="757575"/>
            </a:solidFill>
            <a:round/>
          </a:ln>
        </p:spPr>
        <p:style>
          <a:lnRef idx="1">
            <a:schemeClr val="accent1"/>
          </a:lnRef>
          <a:fillRef idx="0">
            <a:schemeClr val="accent1"/>
          </a:fillRef>
          <a:effectRef idx="0">
            <a:schemeClr val="accent1"/>
          </a:effectRef>
          <a:fontRef idx="minor">
            <a:schemeClr val="tx1"/>
          </a:fontRef>
        </p:style>
      </p:cxnSp>
      <p:sp>
        <p:nvSpPr>
          <p:cNvPr id="24" name="TrackerAlphaBlue 25">
            <a:extLst>
              <a:ext uri="{FF2B5EF4-FFF2-40B4-BE49-F238E27FC236}">
                <a16:creationId xmlns:a16="http://schemas.microsoft.com/office/drawing/2014/main" id="{F0906E2A-7FE5-82FF-02C8-6FE13231F651}"/>
              </a:ext>
            </a:extLst>
          </p:cNvPr>
          <p:cNvSpPr/>
          <p:nvPr>
            <p:custDataLst>
              <p:tags r:id="rId4"/>
            </p:custDataLst>
          </p:nvPr>
        </p:nvSpPr>
        <p:spPr>
          <a:xfrm>
            <a:off x="940931" y="1784523"/>
            <a:ext cx="714305" cy="386044"/>
          </a:xfrm>
          <a:prstGeom prst="ellipse">
            <a:avLst/>
          </a:prstGeom>
          <a:solidFill>
            <a:schemeClr val="accent1"/>
          </a:solidFill>
          <a:ln w="6350" cap="flat" cmpd="sng" algn="ctr">
            <a:noFill/>
            <a:prstDash val="solid"/>
            <a:miter lim="800000"/>
          </a:ln>
          <a:effectLst/>
          <a:extLst>
            <a:ext uri="{91240B29-F687-4F45-9708-019B960494DF}">
              <a14:hiddenLine xmlns:a14="http://schemas.microsoft.com/office/drawing/2010/main" w="63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
                <a:srgbClr val="0032A0"/>
              </a:buClr>
              <a:buSzTx/>
              <a:buFontTx/>
              <a:buNone/>
              <a:tabLst/>
              <a:defRPr/>
            </a:pPr>
            <a:r>
              <a:rPr kumimoji="0" lang="en-US" sz="1100" b="0" i="0" u="none" strike="noStrike" kern="1200" cap="none" spc="0" normalizeH="0" baseline="0" noProof="0">
                <a:ln>
                  <a:noFill/>
                </a:ln>
                <a:solidFill>
                  <a:prstClr val="white"/>
                </a:solidFill>
                <a:effectLst/>
                <a:uLnTx/>
                <a:uFillTx/>
                <a:latin typeface="The Wave Sans TT"/>
                <a:ea typeface="+mn-ea"/>
                <a:cs typeface="+mn-cs"/>
              </a:rPr>
              <a:t>10%</a:t>
            </a:r>
          </a:p>
          <a:p>
            <a:pPr marL="0" marR="0" lvl="0" indent="0" algn="ctr" defTabSz="914400" eaLnBrk="1" fontAlgn="auto" latinLnBrk="0" hangingPunct="1">
              <a:lnSpc>
                <a:spcPct val="100000"/>
              </a:lnSpc>
              <a:spcBef>
                <a:spcPts val="0"/>
              </a:spcBef>
              <a:spcAft>
                <a:spcPts val="0"/>
              </a:spcAft>
              <a:buClr>
                <a:srgbClr val="0032A0"/>
              </a:buClr>
              <a:buSzTx/>
              <a:buFontTx/>
              <a:buNone/>
              <a:tabLst/>
              <a:defRPr/>
            </a:pPr>
            <a:r>
              <a:rPr kumimoji="0" lang="en-US" sz="1100" b="0" i="0" u="none" strike="noStrike" kern="1200" cap="none" spc="0" normalizeH="0" baseline="0" noProof="0">
                <a:ln>
                  <a:noFill/>
                </a:ln>
                <a:solidFill>
                  <a:prstClr val="white"/>
                </a:solidFill>
                <a:effectLst/>
                <a:uLnTx/>
                <a:uFillTx/>
                <a:latin typeface="The Wave Sans TT"/>
                <a:ea typeface="+mn-ea"/>
                <a:cs typeface="+mn-cs"/>
              </a:rPr>
              <a:t>CAGR</a:t>
            </a:r>
          </a:p>
        </p:txBody>
      </p:sp>
      <p:sp>
        <p:nvSpPr>
          <p:cNvPr id="41" name="TrackerAlphaBlue 25">
            <a:extLst>
              <a:ext uri="{FF2B5EF4-FFF2-40B4-BE49-F238E27FC236}">
                <a16:creationId xmlns:a16="http://schemas.microsoft.com/office/drawing/2014/main" id="{8EAAD14D-0537-9CD5-808C-891E90CD3F1D}"/>
              </a:ext>
            </a:extLst>
          </p:cNvPr>
          <p:cNvSpPr/>
          <p:nvPr>
            <p:custDataLst>
              <p:tags r:id="rId5"/>
            </p:custDataLst>
          </p:nvPr>
        </p:nvSpPr>
        <p:spPr>
          <a:xfrm>
            <a:off x="4945665" y="1784523"/>
            <a:ext cx="714305" cy="386044"/>
          </a:xfrm>
          <a:prstGeom prst="ellipse">
            <a:avLst/>
          </a:prstGeom>
          <a:solidFill>
            <a:srgbClr val="373737"/>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
                <a:srgbClr val="0032A0"/>
              </a:buClr>
              <a:buSzTx/>
              <a:buFontTx/>
              <a:buNone/>
              <a:tabLst/>
              <a:defRPr/>
            </a:pPr>
            <a:r>
              <a:rPr kumimoji="0" lang="en-US" sz="1100" b="0" i="0" u="none" strike="noStrike" kern="1200" cap="none" spc="0" normalizeH="0" baseline="0" noProof="0">
                <a:ln>
                  <a:noFill/>
                </a:ln>
                <a:solidFill>
                  <a:prstClr val="white"/>
                </a:solidFill>
                <a:effectLst/>
                <a:uLnTx/>
                <a:uFillTx/>
                <a:latin typeface="The Wave Sans TT"/>
                <a:ea typeface="+mn-ea"/>
                <a:cs typeface="+mn-cs"/>
              </a:rPr>
              <a:t>5%</a:t>
            </a:r>
          </a:p>
          <a:p>
            <a:pPr marL="0" marR="0" lvl="0" indent="0" algn="ctr" defTabSz="914400" eaLnBrk="1" fontAlgn="auto" latinLnBrk="0" hangingPunct="1">
              <a:lnSpc>
                <a:spcPct val="100000"/>
              </a:lnSpc>
              <a:spcBef>
                <a:spcPts val="0"/>
              </a:spcBef>
              <a:spcAft>
                <a:spcPts val="0"/>
              </a:spcAft>
              <a:buClr>
                <a:srgbClr val="0032A0"/>
              </a:buClr>
              <a:buSzTx/>
              <a:buFontTx/>
              <a:buNone/>
              <a:tabLst/>
              <a:defRPr/>
            </a:pPr>
            <a:r>
              <a:rPr kumimoji="0" lang="en-US" sz="1100" b="0" i="0" u="none" strike="noStrike" kern="1200" cap="none" spc="0" normalizeH="0" baseline="0" noProof="0">
                <a:ln>
                  <a:noFill/>
                </a:ln>
                <a:solidFill>
                  <a:prstClr val="white"/>
                </a:solidFill>
                <a:effectLst/>
                <a:uLnTx/>
                <a:uFillTx/>
                <a:latin typeface="The Wave Sans TT"/>
                <a:ea typeface="+mn-ea"/>
                <a:cs typeface="+mn-cs"/>
              </a:rPr>
              <a:t>CAGR</a:t>
            </a:r>
          </a:p>
        </p:txBody>
      </p:sp>
      <p:sp>
        <p:nvSpPr>
          <p:cNvPr id="26" name="TextBox 25">
            <a:extLst>
              <a:ext uri="{FF2B5EF4-FFF2-40B4-BE49-F238E27FC236}">
                <a16:creationId xmlns:a16="http://schemas.microsoft.com/office/drawing/2014/main" id="{17662AA8-7C65-D864-8ACB-73AD07D3C7D0}"/>
              </a:ext>
            </a:extLst>
          </p:cNvPr>
          <p:cNvSpPr txBox="1"/>
          <p:nvPr/>
        </p:nvSpPr>
        <p:spPr>
          <a:xfrm>
            <a:off x="7320136" y="2519744"/>
            <a:ext cx="3454183" cy="430887"/>
          </a:xfrm>
          <a:prstGeom prst="rect">
            <a:avLst/>
          </a:prstGeom>
          <a:noFill/>
        </p:spPr>
        <p:txBody>
          <a:bodyPr wrap="square" lIns="0" tIns="0" rIns="0" bIns="0" rtlCol="0">
            <a:spAutoFit/>
          </a:bodyPr>
          <a:lstStyle/>
          <a:p>
            <a:pPr algn="l">
              <a:lnSpc>
                <a:spcPct val="100000"/>
              </a:lnSpc>
              <a:spcBef>
                <a:spcPts val="600"/>
              </a:spcBef>
              <a:buClr>
                <a:schemeClr val="accent1"/>
              </a:buClr>
            </a:pPr>
            <a:r>
              <a:rPr kumimoji="0" lang="en-US" sz="1600" b="1" i="0" u="none" strike="noStrike" kern="1200" cap="none" spc="0" normalizeH="0" baseline="0" noProof="0">
                <a:ln>
                  <a:noFill/>
                </a:ln>
                <a:solidFill>
                  <a:srgbClr val="FFAA00"/>
                </a:solidFill>
                <a:effectLst/>
                <a:uLnTx/>
                <a:uFillTx/>
                <a:latin typeface="The Wave Sans TT"/>
                <a:ea typeface="+mn-ea"/>
                <a:cs typeface="+mn-cs"/>
              </a:rPr>
              <a:t>1,700 kW/m</a:t>
            </a:r>
            <a:r>
              <a:rPr kumimoji="0" lang="en-US" sz="1600" b="1" i="0" u="none" strike="noStrike" kern="1200" cap="none" spc="0" normalizeH="0" baseline="30000" noProof="0">
                <a:ln>
                  <a:noFill/>
                </a:ln>
                <a:solidFill>
                  <a:srgbClr val="FFAA00"/>
                </a:solidFill>
                <a:effectLst/>
                <a:uLnTx/>
                <a:uFillTx/>
                <a:latin typeface="The Wave Sans TT"/>
                <a:ea typeface="+mn-ea"/>
                <a:cs typeface="+mn-cs"/>
              </a:rPr>
              <a:t>2</a:t>
            </a:r>
            <a:r>
              <a:rPr lang="en-US" sz="1600" b="1" baseline="30000">
                <a:solidFill>
                  <a:schemeClr val="accent5"/>
                </a:solidFill>
              </a:rPr>
              <a:t> </a:t>
            </a:r>
            <a:r>
              <a:rPr lang="en-US" sz="1200" b="1"/>
              <a:t>of global annual solar irradiation, the second highest in Europe</a:t>
            </a:r>
            <a:endParaRPr lang="en-US" sz="1200" b="1">
              <a:solidFill>
                <a:schemeClr val="accent5"/>
              </a:solidFill>
            </a:endParaRPr>
          </a:p>
        </p:txBody>
      </p:sp>
      <p:sp>
        <p:nvSpPr>
          <p:cNvPr id="27" name="TextBox 26">
            <a:extLst>
              <a:ext uri="{FF2B5EF4-FFF2-40B4-BE49-F238E27FC236}">
                <a16:creationId xmlns:a16="http://schemas.microsoft.com/office/drawing/2014/main" id="{EF964876-E293-1877-1158-582D296C0CAA}"/>
              </a:ext>
            </a:extLst>
          </p:cNvPr>
          <p:cNvSpPr txBox="1"/>
          <p:nvPr/>
        </p:nvSpPr>
        <p:spPr>
          <a:xfrm>
            <a:off x="7320136" y="3217243"/>
            <a:ext cx="3277568" cy="430888"/>
          </a:xfrm>
          <a:prstGeom prst="rect">
            <a:avLst/>
          </a:prstGeom>
          <a:noFill/>
        </p:spPr>
        <p:txBody>
          <a:bodyPr wrap="square" lIns="0" tIns="0" rIns="0" bIns="0" rtlCol="0">
            <a:spAutoFit/>
          </a:bodyPr>
          <a:lstStyle/>
          <a:p>
            <a:pPr algn="l">
              <a:lnSpc>
                <a:spcPct val="100000"/>
              </a:lnSpc>
              <a:spcBef>
                <a:spcPts val="600"/>
              </a:spcBef>
              <a:buClr>
                <a:schemeClr val="accent1"/>
              </a:buClr>
            </a:pPr>
            <a:r>
              <a:rPr kumimoji="0" lang="en-US" sz="1600" b="1" i="0" u="none" strike="noStrike" kern="1200" cap="none" spc="0" normalizeH="0" baseline="0" noProof="0">
                <a:ln>
                  <a:noFill/>
                </a:ln>
                <a:solidFill>
                  <a:srgbClr val="FFAA00"/>
                </a:solidFill>
                <a:effectLst/>
                <a:uLnTx/>
                <a:uFillTx/>
                <a:latin typeface="The Wave Sans TT"/>
                <a:ea typeface="+mn-ea"/>
                <a:cs typeface="+mn-cs"/>
              </a:rPr>
              <a:t>797 W/m</a:t>
            </a:r>
            <a:r>
              <a:rPr kumimoji="0" lang="en-US" sz="1600" b="1" i="0" u="none" strike="noStrike" kern="1200" cap="none" spc="0" normalizeH="0" baseline="30000" noProof="0">
                <a:ln>
                  <a:noFill/>
                </a:ln>
                <a:solidFill>
                  <a:srgbClr val="FFAA00"/>
                </a:solidFill>
                <a:effectLst/>
                <a:uLnTx/>
                <a:uFillTx/>
                <a:latin typeface="The Wave Sans TT"/>
                <a:ea typeface="+mn-ea"/>
                <a:cs typeface="+mn-cs"/>
              </a:rPr>
              <a:t>2  </a:t>
            </a:r>
            <a:r>
              <a:rPr lang="en-US" sz="1200" b="1"/>
              <a:t>of wind power density, the highest in continental Europe</a:t>
            </a:r>
          </a:p>
        </p:txBody>
      </p:sp>
      <p:pic>
        <p:nvPicPr>
          <p:cNvPr id="16" name="Picture 2" descr="Right ">
            <a:extLst>
              <a:ext uri="{FF2B5EF4-FFF2-40B4-BE49-F238E27FC236}">
                <a16:creationId xmlns:a16="http://schemas.microsoft.com/office/drawing/2014/main" id="{041413EF-E2C9-1ED0-65FE-2132ECF3CC5F}"/>
              </a:ext>
            </a:extLst>
          </p:cNvPr>
          <p:cNvPicPr>
            <a:picLocks noChangeAspect="1" noChangeArrowheads="1"/>
          </p:cNvPicPr>
          <p:nvPr/>
        </p:nvPicPr>
        <p:blipFill>
          <a:blip r:embed="rId20" cstate="screen">
            <a:extLst>
              <a:ext uri="{BEBA8EAE-BF5A-486C-A8C5-ECC9F3942E4B}">
                <a14:imgProps xmlns:a14="http://schemas.microsoft.com/office/drawing/2010/main">
                  <a14:imgLayer r:embed="rId21">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0844143">
            <a:off x="3467476" y="3129645"/>
            <a:ext cx="709545" cy="38847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B96E25DF-E3CD-9F39-F73B-82CA2652B280}"/>
              </a:ext>
            </a:extLst>
          </p:cNvPr>
          <p:cNvSpPr txBox="1"/>
          <p:nvPr/>
        </p:nvSpPr>
        <p:spPr>
          <a:xfrm>
            <a:off x="3513795" y="2895361"/>
            <a:ext cx="460062" cy="161583"/>
          </a:xfrm>
          <a:prstGeom prst="rect">
            <a:avLst/>
          </a:prstGeom>
          <a:noFill/>
        </p:spPr>
        <p:txBody>
          <a:bodyPr wrap="none" lIns="0" tIns="0" rIns="0" bIns="0" rtlCol="0">
            <a:spAutoFit/>
          </a:bodyPr>
          <a:lstStyle/>
          <a:p>
            <a:pPr marL="0" marR="0" lvl="0" indent="0" algn="l" defTabSz="914400" eaLnBrk="1" fontAlgn="auto" latinLnBrk="0" hangingPunct="1">
              <a:lnSpc>
                <a:spcPct val="100000"/>
              </a:lnSpc>
              <a:spcBef>
                <a:spcPts val="600"/>
              </a:spcBef>
              <a:spcAft>
                <a:spcPts val="0"/>
              </a:spcAft>
              <a:buClr>
                <a:srgbClr val="0032A0"/>
              </a:buClr>
              <a:buSzTx/>
              <a:buFontTx/>
              <a:buNone/>
              <a:tabLst/>
              <a:defRPr/>
            </a:pPr>
            <a:r>
              <a:rPr kumimoji="0" lang="en-US" sz="1050" b="1" i="0" u="none" strike="noStrike" kern="1200" cap="none" spc="0" normalizeH="0" baseline="0" noProof="0">
                <a:ln>
                  <a:noFill/>
                </a:ln>
                <a:solidFill>
                  <a:srgbClr val="000000"/>
                </a:solidFill>
                <a:effectLst/>
                <a:uLnTx/>
                <a:uFillTx/>
                <a:latin typeface="The Wave Sans TT"/>
                <a:ea typeface="+mn-ea"/>
                <a:cs typeface="+mn-cs"/>
              </a:rPr>
              <a:t>+600%</a:t>
            </a:r>
          </a:p>
        </p:txBody>
      </p:sp>
      <p:grpSp>
        <p:nvGrpSpPr>
          <p:cNvPr id="43" name="Group 42">
            <a:extLst>
              <a:ext uri="{FF2B5EF4-FFF2-40B4-BE49-F238E27FC236}">
                <a16:creationId xmlns:a16="http://schemas.microsoft.com/office/drawing/2014/main" id="{0C7B5146-C8F0-E605-B4FF-93E3D265D73D}"/>
              </a:ext>
            </a:extLst>
          </p:cNvPr>
          <p:cNvGrpSpPr/>
          <p:nvPr/>
        </p:nvGrpSpPr>
        <p:grpSpPr>
          <a:xfrm>
            <a:off x="771901" y="4263176"/>
            <a:ext cx="1056375" cy="153888"/>
            <a:chOff x="759201" y="4191168"/>
            <a:chExt cx="1056375" cy="153888"/>
          </a:xfrm>
        </p:grpSpPr>
        <p:sp>
          <p:nvSpPr>
            <p:cNvPr id="22" name="TextBox 21">
              <a:extLst>
                <a:ext uri="{FF2B5EF4-FFF2-40B4-BE49-F238E27FC236}">
                  <a16:creationId xmlns:a16="http://schemas.microsoft.com/office/drawing/2014/main" id="{97CFC3BE-7EB7-ACCD-1BB6-DC39C4466289}"/>
                </a:ext>
              </a:extLst>
            </p:cNvPr>
            <p:cNvSpPr txBox="1"/>
            <p:nvPr/>
          </p:nvSpPr>
          <p:spPr>
            <a:xfrm>
              <a:off x="759201"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2</a:t>
              </a:r>
            </a:p>
          </p:txBody>
        </p:sp>
        <p:sp>
          <p:nvSpPr>
            <p:cNvPr id="37" name="TextBox 36">
              <a:extLst>
                <a:ext uri="{FF2B5EF4-FFF2-40B4-BE49-F238E27FC236}">
                  <a16:creationId xmlns:a16="http://schemas.microsoft.com/office/drawing/2014/main" id="{E44A5EC7-271C-A851-E355-B452BF1786CD}"/>
                </a:ext>
              </a:extLst>
            </p:cNvPr>
            <p:cNvSpPr txBox="1"/>
            <p:nvPr/>
          </p:nvSpPr>
          <p:spPr>
            <a:xfrm>
              <a:off x="1137106"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5</a:t>
              </a:r>
            </a:p>
          </p:txBody>
        </p:sp>
        <p:sp>
          <p:nvSpPr>
            <p:cNvPr id="39" name="TextBox 38">
              <a:extLst>
                <a:ext uri="{FF2B5EF4-FFF2-40B4-BE49-F238E27FC236}">
                  <a16:creationId xmlns:a16="http://schemas.microsoft.com/office/drawing/2014/main" id="{14928FCC-A811-EE46-CD4B-5217C6D23130}"/>
                </a:ext>
              </a:extLst>
            </p:cNvPr>
            <p:cNvSpPr txBox="1"/>
            <p:nvPr/>
          </p:nvSpPr>
          <p:spPr>
            <a:xfrm>
              <a:off x="1511005" y="4191168"/>
              <a:ext cx="30457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30</a:t>
              </a:r>
            </a:p>
          </p:txBody>
        </p:sp>
      </p:grpSp>
      <p:grpSp>
        <p:nvGrpSpPr>
          <p:cNvPr id="44" name="Group 43">
            <a:extLst>
              <a:ext uri="{FF2B5EF4-FFF2-40B4-BE49-F238E27FC236}">
                <a16:creationId xmlns:a16="http://schemas.microsoft.com/office/drawing/2014/main" id="{156AAA0B-F145-6C9F-BDDF-15089ED507A4}"/>
              </a:ext>
            </a:extLst>
          </p:cNvPr>
          <p:cNvGrpSpPr/>
          <p:nvPr/>
        </p:nvGrpSpPr>
        <p:grpSpPr>
          <a:xfrm>
            <a:off x="2106812" y="4263176"/>
            <a:ext cx="1056375" cy="153888"/>
            <a:chOff x="759201" y="4191168"/>
            <a:chExt cx="1056375" cy="153888"/>
          </a:xfrm>
        </p:grpSpPr>
        <p:sp>
          <p:nvSpPr>
            <p:cNvPr id="52" name="TextBox 51">
              <a:extLst>
                <a:ext uri="{FF2B5EF4-FFF2-40B4-BE49-F238E27FC236}">
                  <a16:creationId xmlns:a16="http://schemas.microsoft.com/office/drawing/2014/main" id="{FA2AAF57-57A8-8F41-C9D4-1E951A7879C8}"/>
                </a:ext>
              </a:extLst>
            </p:cNvPr>
            <p:cNvSpPr txBox="1"/>
            <p:nvPr/>
          </p:nvSpPr>
          <p:spPr>
            <a:xfrm>
              <a:off x="759201"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2</a:t>
              </a:r>
            </a:p>
          </p:txBody>
        </p:sp>
        <p:sp>
          <p:nvSpPr>
            <p:cNvPr id="53" name="TextBox 52">
              <a:extLst>
                <a:ext uri="{FF2B5EF4-FFF2-40B4-BE49-F238E27FC236}">
                  <a16:creationId xmlns:a16="http://schemas.microsoft.com/office/drawing/2014/main" id="{3541FB70-6BAE-57B6-808B-71298027084D}"/>
                </a:ext>
              </a:extLst>
            </p:cNvPr>
            <p:cNvSpPr txBox="1"/>
            <p:nvPr/>
          </p:nvSpPr>
          <p:spPr>
            <a:xfrm>
              <a:off x="1137106"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5</a:t>
              </a:r>
            </a:p>
          </p:txBody>
        </p:sp>
        <p:sp>
          <p:nvSpPr>
            <p:cNvPr id="54" name="TextBox 53">
              <a:extLst>
                <a:ext uri="{FF2B5EF4-FFF2-40B4-BE49-F238E27FC236}">
                  <a16:creationId xmlns:a16="http://schemas.microsoft.com/office/drawing/2014/main" id="{BCF5F8EE-6E3D-FD73-C282-C4CABB7C6106}"/>
                </a:ext>
              </a:extLst>
            </p:cNvPr>
            <p:cNvSpPr txBox="1"/>
            <p:nvPr/>
          </p:nvSpPr>
          <p:spPr>
            <a:xfrm>
              <a:off x="1511005" y="4191168"/>
              <a:ext cx="30457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30</a:t>
              </a:r>
            </a:p>
          </p:txBody>
        </p:sp>
      </p:grpSp>
      <p:grpSp>
        <p:nvGrpSpPr>
          <p:cNvPr id="57" name="Group 56">
            <a:extLst>
              <a:ext uri="{FF2B5EF4-FFF2-40B4-BE49-F238E27FC236}">
                <a16:creationId xmlns:a16="http://schemas.microsoft.com/office/drawing/2014/main" id="{E677092D-C625-A3AE-9A02-4C0D14213A86}"/>
              </a:ext>
            </a:extLst>
          </p:cNvPr>
          <p:cNvGrpSpPr/>
          <p:nvPr/>
        </p:nvGrpSpPr>
        <p:grpSpPr>
          <a:xfrm>
            <a:off x="3441723" y="4263176"/>
            <a:ext cx="1056375" cy="153888"/>
            <a:chOff x="759201" y="4191168"/>
            <a:chExt cx="1056375" cy="153888"/>
          </a:xfrm>
        </p:grpSpPr>
        <p:sp>
          <p:nvSpPr>
            <p:cNvPr id="58" name="TextBox 57">
              <a:extLst>
                <a:ext uri="{FF2B5EF4-FFF2-40B4-BE49-F238E27FC236}">
                  <a16:creationId xmlns:a16="http://schemas.microsoft.com/office/drawing/2014/main" id="{1C08ED69-38DB-BDB5-F7E7-45640EF5EF50}"/>
                </a:ext>
              </a:extLst>
            </p:cNvPr>
            <p:cNvSpPr txBox="1"/>
            <p:nvPr/>
          </p:nvSpPr>
          <p:spPr>
            <a:xfrm>
              <a:off x="759201"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2</a:t>
              </a:r>
            </a:p>
          </p:txBody>
        </p:sp>
        <p:sp>
          <p:nvSpPr>
            <p:cNvPr id="60" name="TextBox 59">
              <a:extLst>
                <a:ext uri="{FF2B5EF4-FFF2-40B4-BE49-F238E27FC236}">
                  <a16:creationId xmlns:a16="http://schemas.microsoft.com/office/drawing/2014/main" id="{04B50366-82A8-E67A-59F8-0E867D39E94D}"/>
                </a:ext>
              </a:extLst>
            </p:cNvPr>
            <p:cNvSpPr txBox="1"/>
            <p:nvPr/>
          </p:nvSpPr>
          <p:spPr>
            <a:xfrm>
              <a:off x="1137106"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5</a:t>
              </a:r>
            </a:p>
          </p:txBody>
        </p:sp>
        <p:sp>
          <p:nvSpPr>
            <p:cNvPr id="61" name="TextBox 60">
              <a:extLst>
                <a:ext uri="{FF2B5EF4-FFF2-40B4-BE49-F238E27FC236}">
                  <a16:creationId xmlns:a16="http://schemas.microsoft.com/office/drawing/2014/main" id="{C77EB9AC-B09C-AB2E-A8A9-778C1A13530C}"/>
                </a:ext>
              </a:extLst>
            </p:cNvPr>
            <p:cNvSpPr txBox="1"/>
            <p:nvPr/>
          </p:nvSpPr>
          <p:spPr>
            <a:xfrm>
              <a:off x="1511005" y="4191168"/>
              <a:ext cx="30457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30</a:t>
              </a:r>
            </a:p>
          </p:txBody>
        </p:sp>
      </p:grpSp>
      <p:grpSp>
        <p:nvGrpSpPr>
          <p:cNvPr id="62" name="Group 61">
            <a:extLst>
              <a:ext uri="{FF2B5EF4-FFF2-40B4-BE49-F238E27FC236}">
                <a16:creationId xmlns:a16="http://schemas.microsoft.com/office/drawing/2014/main" id="{14CD4D50-54C4-FC56-6E3B-A9B8580574B3}"/>
              </a:ext>
            </a:extLst>
          </p:cNvPr>
          <p:cNvGrpSpPr/>
          <p:nvPr/>
        </p:nvGrpSpPr>
        <p:grpSpPr>
          <a:xfrm>
            <a:off x="4776635" y="4263176"/>
            <a:ext cx="1056375" cy="153888"/>
            <a:chOff x="759201" y="4191168"/>
            <a:chExt cx="1056375" cy="153888"/>
          </a:xfrm>
        </p:grpSpPr>
        <p:sp>
          <p:nvSpPr>
            <p:cNvPr id="63" name="TextBox 62">
              <a:extLst>
                <a:ext uri="{FF2B5EF4-FFF2-40B4-BE49-F238E27FC236}">
                  <a16:creationId xmlns:a16="http://schemas.microsoft.com/office/drawing/2014/main" id="{B2D2BE89-E534-821F-B83F-3394A43C3E3D}"/>
                </a:ext>
              </a:extLst>
            </p:cNvPr>
            <p:cNvSpPr txBox="1"/>
            <p:nvPr/>
          </p:nvSpPr>
          <p:spPr>
            <a:xfrm>
              <a:off x="759201"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2</a:t>
              </a:r>
            </a:p>
          </p:txBody>
        </p:sp>
        <p:sp>
          <p:nvSpPr>
            <p:cNvPr id="1024" name="TextBox 1023">
              <a:extLst>
                <a:ext uri="{FF2B5EF4-FFF2-40B4-BE49-F238E27FC236}">
                  <a16:creationId xmlns:a16="http://schemas.microsoft.com/office/drawing/2014/main" id="{F29AB034-F2E4-DC5B-C3B5-432EFBF43285}"/>
                </a:ext>
              </a:extLst>
            </p:cNvPr>
            <p:cNvSpPr txBox="1"/>
            <p:nvPr/>
          </p:nvSpPr>
          <p:spPr>
            <a:xfrm>
              <a:off x="1137106" y="4191168"/>
              <a:ext cx="296556"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25</a:t>
              </a:r>
            </a:p>
          </p:txBody>
        </p:sp>
        <p:sp>
          <p:nvSpPr>
            <p:cNvPr id="1025" name="TextBox 1024">
              <a:extLst>
                <a:ext uri="{FF2B5EF4-FFF2-40B4-BE49-F238E27FC236}">
                  <a16:creationId xmlns:a16="http://schemas.microsoft.com/office/drawing/2014/main" id="{814AA65F-5EFE-DBBA-DD27-E1C8DD5A6C67}"/>
                </a:ext>
              </a:extLst>
            </p:cNvPr>
            <p:cNvSpPr txBox="1"/>
            <p:nvPr/>
          </p:nvSpPr>
          <p:spPr>
            <a:xfrm>
              <a:off x="1511005" y="4191168"/>
              <a:ext cx="304571" cy="153888"/>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000" b="0" i="0" u="none" strike="noStrike" kern="1200" cap="none" spc="0" normalizeH="0" baseline="0" noProof="0">
                  <a:ln>
                    <a:noFill/>
                  </a:ln>
                  <a:solidFill>
                    <a:srgbClr val="373737"/>
                  </a:solidFill>
                  <a:effectLst/>
                  <a:uLnTx/>
                  <a:uFillTx/>
                  <a:latin typeface="The Wave Sans TT"/>
                  <a:ea typeface="+mn-ea"/>
                  <a:cs typeface="Arial" panose="020B0604020202020204" pitchFamily="34" charset="0"/>
                </a:rPr>
                <a:t>2030</a:t>
              </a:r>
            </a:p>
          </p:txBody>
        </p:sp>
      </p:grpSp>
      <p:sp>
        <p:nvSpPr>
          <p:cNvPr id="23" name="Rectangle 22">
            <a:extLst>
              <a:ext uri="{FF2B5EF4-FFF2-40B4-BE49-F238E27FC236}">
                <a16:creationId xmlns:a16="http://schemas.microsoft.com/office/drawing/2014/main" id="{DB28C789-86CC-A018-28DE-28828004926B}"/>
              </a:ext>
            </a:extLst>
          </p:cNvPr>
          <p:cNvSpPr/>
          <p:nvPr/>
        </p:nvSpPr>
        <p:spPr>
          <a:xfrm>
            <a:off x="695372" y="6258962"/>
            <a:ext cx="10081120" cy="338554"/>
          </a:xfrm>
          <a:prstGeom prst="rect">
            <a:avLst/>
          </a:prstGeom>
        </p:spPr>
        <p:txBody>
          <a:bodyPr/>
          <a:lstStyle/>
          <a:p>
            <a:r>
              <a:rPr lang="en-GB" sz="700"/>
              <a:t>Sources: WoodMac, NECP, European Commission Institute for Energy and Transport, IRENA. Notes: </a:t>
            </a:r>
            <a:r>
              <a:rPr kumimoji="0" lang="en-US" sz="700" b="0" i="0" u="none" strike="noStrike" kern="1200" cap="none" spc="0" normalizeH="0" baseline="30000" noProof="0">
                <a:ln>
                  <a:noFill/>
                </a:ln>
                <a:solidFill>
                  <a:srgbClr val="000000"/>
                </a:solidFill>
                <a:effectLst/>
                <a:uLnTx/>
                <a:uFillTx/>
                <a:latin typeface="The Wave Sans TT (Body)"/>
                <a:ea typeface="+mn-ea"/>
                <a:cs typeface="Arial" panose="020B0604020202020204" pitchFamily="34" charset="0"/>
              </a:rPr>
              <a:t>1 </a:t>
            </a:r>
            <a:r>
              <a:rPr kumimoji="0" lang="en-US" sz="700" b="0" i="0" u="none" strike="noStrike" kern="1200" cap="none" spc="0" normalizeH="0" baseline="0" noProof="0">
                <a:ln>
                  <a:noFill/>
                </a:ln>
                <a:solidFill>
                  <a:srgbClr val="000000"/>
                </a:solidFill>
                <a:effectLst/>
                <a:uLnTx/>
                <a:uFillTx/>
                <a:latin typeface="The Wave Sans TT (Body)"/>
                <a:ea typeface="+mn-ea"/>
                <a:cs typeface="Arial" panose="020B0604020202020204" pitchFamily="34" charset="0"/>
              </a:rPr>
              <a:t>Revised Greek National Energy and Climate Plan, August 2024; </a:t>
            </a:r>
            <a:r>
              <a:rPr kumimoji="0" lang="en-US" sz="700" b="0" i="0" u="none" strike="noStrike" kern="1200" cap="none" spc="0" normalizeH="0" baseline="30000" noProof="0">
                <a:ln>
                  <a:noFill/>
                </a:ln>
                <a:solidFill>
                  <a:srgbClr val="000000"/>
                </a:solidFill>
                <a:effectLst/>
                <a:uLnTx/>
                <a:uFillTx/>
                <a:latin typeface="The Wave Sans TT (Body)"/>
                <a:ea typeface="+mn-ea"/>
                <a:cs typeface="Arial" panose="020B0604020202020204" pitchFamily="34" charset="0"/>
              </a:rPr>
              <a:t>2</a:t>
            </a:r>
            <a:r>
              <a:rPr kumimoji="0" lang="en-US" sz="700" b="0" i="0" u="none" strike="noStrike" kern="1200" cap="none" spc="0" normalizeH="0" baseline="0" noProof="0">
                <a:ln>
                  <a:noFill/>
                </a:ln>
                <a:solidFill>
                  <a:srgbClr val="000000"/>
                </a:solidFill>
                <a:effectLst/>
                <a:uLnTx/>
                <a:uFillTx/>
                <a:latin typeface="The Wave Sans TT (Body)"/>
                <a:ea typeface="+mn-ea"/>
                <a:cs typeface="Arial" panose="020B0604020202020204" pitchFamily="34" charset="0"/>
              </a:rPr>
              <a:t> Graphical representation not on scale.</a:t>
            </a:r>
            <a:endParaRPr lang="en-GB" sz="700"/>
          </a:p>
        </p:txBody>
      </p:sp>
      <p:sp>
        <p:nvSpPr>
          <p:cNvPr id="14" name="Slide Number Placeholder 13">
            <a:extLst>
              <a:ext uri="{FF2B5EF4-FFF2-40B4-BE49-F238E27FC236}">
                <a16:creationId xmlns:a16="http://schemas.microsoft.com/office/drawing/2014/main" id="{291277E6-E946-4DB9-BDA7-A59B7AA1F423}"/>
              </a:ext>
            </a:extLst>
          </p:cNvPr>
          <p:cNvSpPr>
            <a:spLocks noGrp="1"/>
          </p:cNvSpPr>
          <p:nvPr>
            <p:ph type="sldNum" sz="quarter" idx="12"/>
          </p:nvPr>
        </p:nvSpPr>
        <p:spPr/>
        <p:txBody>
          <a:bodyPr/>
          <a:lstStyle/>
          <a:p>
            <a:fld id="{4531D9DC-ADF0-4D0A-8902-0133E3C6D94B}" type="slidenum">
              <a:rPr lang="en-US" smtClean="0"/>
              <a:pPr/>
              <a:t>38</a:t>
            </a:fld>
            <a:endParaRPr lang="en-US"/>
          </a:p>
        </p:txBody>
      </p:sp>
    </p:spTree>
    <p:extLst>
      <p:ext uri="{BB962C8B-B14F-4D97-AF65-F5344CB8AC3E}">
        <p14:creationId xmlns:p14="http://schemas.microsoft.com/office/powerpoint/2010/main" val="559457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2FDA9C4-0A82-8654-00D8-CD8DCCB67C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kt 5" hidden="1">
                        <a:extLst>
                          <a:ext uri="{FF2B5EF4-FFF2-40B4-BE49-F238E27FC236}">
                            <a16:creationId xmlns:a16="http://schemas.microsoft.com/office/drawing/2014/main" id="{32FDA9C4-0A82-8654-00D8-CD8DCCB67C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D6583C5-342E-8421-DA45-6F0084578CA8}"/>
              </a:ext>
            </a:extLst>
          </p:cNvPr>
          <p:cNvSpPr>
            <a:spLocks noGrp="1"/>
          </p:cNvSpPr>
          <p:nvPr>
            <p:ph type="title"/>
          </p:nvPr>
        </p:nvSpPr>
        <p:spPr>
          <a:xfrm>
            <a:off x="1988554" y="1779743"/>
            <a:ext cx="9760534" cy="830997"/>
          </a:xfrm>
        </p:spPr>
        <p:txBody>
          <a:bodyPr vert="horz"/>
          <a:lstStyle/>
          <a:p>
            <a:r>
              <a:rPr lang="en-US"/>
              <a:t>RES Business Unit Overview</a:t>
            </a:r>
          </a:p>
        </p:txBody>
      </p:sp>
      <p:sp>
        <p:nvSpPr>
          <p:cNvPr id="4" name="Text Placeholder 3">
            <a:extLst>
              <a:ext uri="{FF2B5EF4-FFF2-40B4-BE49-F238E27FC236}">
                <a16:creationId xmlns:a16="http://schemas.microsoft.com/office/drawing/2014/main" id="{9E5879DA-0970-48FB-1A5D-4C2EE9318EFC}"/>
              </a:ext>
            </a:extLst>
          </p:cNvPr>
          <p:cNvSpPr>
            <a:spLocks noGrp="1"/>
          </p:cNvSpPr>
          <p:nvPr>
            <p:ph type="body" sz="quarter" idx="11"/>
          </p:nvPr>
        </p:nvSpPr>
        <p:spPr/>
        <p:txBody>
          <a:bodyPr/>
          <a:lstStyle/>
          <a:p>
            <a:r>
              <a:rPr lang="en-US"/>
              <a:t>2.</a:t>
            </a:r>
          </a:p>
        </p:txBody>
      </p:sp>
    </p:spTree>
    <p:extLst>
      <p:ext uri="{BB962C8B-B14F-4D97-AF65-F5344CB8AC3E}">
        <p14:creationId xmlns:p14="http://schemas.microsoft.com/office/powerpoint/2010/main" val="21554888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4</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Δρ. Κώστας Ανδριοσόπουλο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582741"/>
          </a:xfrm>
          <a:prstGeom prst="rect">
            <a:avLst/>
          </a:prstGeom>
          <a:noFill/>
        </p:spPr>
        <p:txBody>
          <a:bodyPr wrap="square">
            <a:spAutoFit/>
          </a:bodyPr>
          <a:lstStyle/>
          <a:p>
            <a:pPr marR="0"/>
            <a:r>
              <a:rPr lang="el-GR" sz="1400" b="1"/>
              <a:t>Ακαδημαϊκό υπόβαθρο </a:t>
            </a:r>
          </a:p>
          <a:p>
            <a:pPr marL="285750" marR="0" indent="-285750">
              <a:buFont typeface="Wingdings" panose="05000000000000000000" pitchFamily="2" charset="2"/>
              <a:buChar char="§"/>
            </a:pPr>
            <a:r>
              <a:rPr lang="en-US" sz="1400" err="1"/>
              <a:t>Κάτοχος</a:t>
            </a:r>
            <a:r>
              <a:rPr lang="en-US" sz="1400"/>
              <a:t> </a:t>
            </a:r>
            <a:r>
              <a:rPr lang="en-US" sz="1400" err="1"/>
              <a:t>διδ</a:t>
            </a:r>
            <a:r>
              <a:rPr lang="en-US" sz="1400"/>
              <a:t>ακτορικού διπλώματος στα Χρηματοοικονομικά, Bayes Business School, City University οf London, στο πλαίσιο του οποίου έλαβε την υποτροφία του Κοινωφελούς Ιδρύματος Αλέξανδρος Σ. </a:t>
            </a:r>
            <a:r>
              <a:rPr lang="en-US" sz="1400" err="1"/>
              <a:t>Ωνάσης</a:t>
            </a:r>
            <a:endParaRPr lang="en-US" sz="1400"/>
          </a:p>
          <a:p>
            <a:pPr marL="285750" marR="0" indent="-285750">
              <a:buFont typeface="Wingdings" panose="05000000000000000000" pitchFamily="2" charset="2"/>
              <a:buChar char="§"/>
            </a:pPr>
            <a:r>
              <a:rPr lang="en-US" sz="1400" err="1"/>
              <a:t>Κάτοχος</a:t>
            </a:r>
            <a:r>
              <a:rPr lang="en-US" sz="1400"/>
              <a:t> MBA και MSc </a:t>
            </a:r>
            <a:r>
              <a:rPr lang="en-US" sz="1400" err="1"/>
              <a:t>στ</a:t>
            </a:r>
            <a:r>
              <a:rPr lang="en-US" sz="1400"/>
              <a:t>α Χρηματοοικονομικά, Northeastern University, Βοστώνη</a:t>
            </a:r>
          </a:p>
          <a:p>
            <a:pPr marL="285750" marR="0" indent="-285750">
              <a:buFont typeface="Wingdings" panose="05000000000000000000" pitchFamily="2" charset="2"/>
              <a:buChar char="§"/>
            </a:pPr>
            <a:r>
              <a:rPr lang="en-US" sz="1400" err="1"/>
              <a:t>Μηχ</a:t>
            </a:r>
            <a:r>
              <a:rPr lang="en-US" sz="1400"/>
              <a:t>ανικός Παραγωγής και Διοίκησης, Πολυτεχνείο Κρήτης, Χανιά</a:t>
            </a:r>
          </a:p>
          <a:p>
            <a:pPr marL="0" marR="0">
              <a:lnSpc>
                <a:spcPct val="115000"/>
              </a:lnSpc>
              <a:spcAft>
                <a:spcPts val="800"/>
              </a:spcAft>
              <a:buNone/>
            </a:pPr>
            <a:endParaRPr lang="en-US" sz="120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marR="0" indent="-285750">
              <a:buClr>
                <a:srgbClr val="002060"/>
              </a:buClr>
              <a:buFont typeface="Wingdings" panose="05000000000000000000" pitchFamily="2" charset="2"/>
              <a:buChar char="§"/>
            </a:pPr>
            <a:r>
              <a:rPr lang="en-US" sz="1400" err="1">
                <a:latin typeface="The Wave Sans TT (Body)"/>
              </a:rPr>
              <a:t>Διευθυντής</a:t>
            </a:r>
            <a:r>
              <a:rPr lang="en-US" sz="1400">
                <a:latin typeface="The Wave Sans TT (Body)"/>
              </a:rPr>
              <a:t> </a:t>
            </a:r>
            <a:r>
              <a:rPr lang="en-US" sz="1400" err="1">
                <a:latin typeface="The Wave Sans TT (Body)"/>
              </a:rPr>
              <a:t>του</a:t>
            </a:r>
            <a:r>
              <a:rPr lang="en-US" sz="1400">
                <a:latin typeface="The Wave Sans TT (Body)"/>
              </a:rPr>
              <a:t> HELLENiQ Energy Center for Sustainability and Energy @Alba</a:t>
            </a:r>
          </a:p>
          <a:p>
            <a:pPr marL="285750" marR="0" indent="-285750">
              <a:buClr>
                <a:srgbClr val="002060"/>
              </a:buClr>
              <a:buFont typeface="Wingdings" panose="05000000000000000000" pitchFamily="2" charset="2"/>
              <a:buChar char="§"/>
            </a:pPr>
            <a:r>
              <a:rPr lang="en-US" sz="1400" err="1">
                <a:latin typeface="The Wave Sans TT (Body)"/>
              </a:rPr>
              <a:t>Ακ</a:t>
            </a:r>
            <a:r>
              <a:rPr lang="en-US" sz="1400">
                <a:latin typeface="The Wave Sans TT (Body)"/>
              </a:rPr>
              <a:t>αδημαϊκός Διευθυντής του Executive Program in Energy Business στο Alba Graduate Business School, The American College of Greece</a:t>
            </a:r>
          </a:p>
          <a:p>
            <a:pPr marL="285750" marR="0" indent="-285750">
              <a:buClr>
                <a:srgbClr val="002060"/>
              </a:buClr>
              <a:buFont typeface="Wingdings" panose="05000000000000000000" pitchFamily="2" charset="2"/>
              <a:buChar char="§"/>
            </a:pPr>
            <a:r>
              <a:rPr lang="en-US" sz="1400" err="1">
                <a:latin typeface="The Wave Sans TT (Body)"/>
              </a:rPr>
              <a:t>Διευθύνων</a:t>
            </a:r>
            <a:r>
              <a:rPr lang="en-US" sz="1400">
                <a:latin typeface="The Wave Sans TT (Body)"/>
              </a:rPr>
              <a:t> </a:t>
            </a:r>
            <a:r>
              <a:rPr lang="en-US" sz="1400" err="1">
                <a:latin typeface="The Wave Sans TT (Body)"/>
              </a:rPr>
              <a:t>Σύμ</a:t>
            </a:r>
            <a:r>
              <a:rPr lang="en-US" sz="1400">
                <a:latin typeface="The Wave Sans TT (Body)"/>
              </a:rPr>
              <a:t>βουλος της Akuo Energy Greece</a:t>
            </a:r>
          </a:p>
          <a:p>
            <a:pPr marL="285750" marR="0" indent="-285750">
              <a:buClr>
                <a:srgbClr val="002060"/>
              </a:buClr>
              <a:buFont typeface="Wingdings" panose="05000000000000000000" pitchFamily="2" charset="2"/>
              <a:buChar char="§"/>
            </a:pPr>
            <a:r>
              <a:rPr lang="en-US" sz="1400">
                <a:latin typeface="The Wave Sans TT (Body)"/>
              </a:rPr>
              <a:t>Κα</a:t>
            </a:r>
            <a:r>
              <a:rPr lang="en-US" sz="1400" err="1">
                <a:latin typeface="The Wave Sans TT (Body)"/>
              </a:rPr>
              <a:t>θηγητής</a:t>
            </a:r>
            <a:r>
              <a:rPr lang="en-US" sz="1400">
                <a:latin typeface="The Wave Sans TT (Body)"/>
              </a:rPr>
              <a:t> </a:t>
            </a:r>
            <a:r>
              <a:rPr lang="en-US" sz="1400" err="1">
                <a:latin typeface="The Wave Sans TT (Body)"/>
              </a:rPr>
              <a:t>Χρημ</a:t>
            </a:r>
            <a:r>
              <a:rPr lang="en-US" sz="1400">
                <a:latin typeface="The Wave Sans TT (Body)"/>
              </a:rPr>
              <a:t>ατοοικονομικών και Ενεργειακής Οικονομίας</a:t>
            </a:r>
          </a:p>
          <a:p>
            <a:pPr marL="285750" marR="0" indent="-285750">
              <a:buClr>
                <a:srgbClr val="002060"/>
              </a:buClr>
              <a:buFont typeface="Wingdings" panose="05000000000000000000" pitchFamily="2" charset="2"/>
              <a:buChar char="§"/>
            </a:pPr>
            <a:r>
              <a:rPr lang="en-US" sz="1400" err="1">
                <a:latin typeface="The Wave Sans TT (Body)"/>
              </a:rPr>
              <a:t>Προέδρου</a:t>
            </a:r>
            <a:r>
              <a:rPr lang="en-US" sz="1400">
                <a:latin typeface="The Wave Sans TT (Body)"/>
              </a:rPr>
              <a:t> </a:t>
            </a:r>
            <a:r>
              <a:rPr lang="en-US" sz="1400" err="1">
                <a:latin typeface="The Wave Sans TT (Body)"/>
              </a:rPr>
              <a:t>της</a:t>
            </a:r>
            <a:r>
              <a:rPr lang="en-US" sz="1400">
                <a:latin typeface="The Wave Sans TT (Body)"/>
              </a:rPr>
              <a:t> Επ</a:t>
            </a:r>
            <a:r>
              <a:rPr lang="en-US" sz="1400" err="1">
                <a:latin typeface="The Wave Sans TT (Body)"/>
              </a:rPr>
              <a:t>ιτρο</a:t>
            </a:r>
            <a:r>
              <a:rPr lang="en-US" sz="1400">
                <a:latin typeface="The Wave Sans TT (Body)"/>
              </a:rPr>
              <a:t>πής Ενέργειας του Ελληνο-Αμερικανικού Εμπορικού Επιμελητηρίου</a:t>
            </a:r>
          </a:p>
          <a:p>
            <a:pPr marL="285750" marR="0" indent="-285750">
              <a:buClr>
                <a:srgbClr val="002060"/>
              </a:buClr>
              <a:buFont typeface="Wingdings" panose="05000000000000000000" pitchFamily="2" charset="2"/>
              <a:buChar char="§"/>
            </a:pPr>
            <a:r>
              <a:rPr lang="en-US" sz="1400" err="1">
                <a:latin typeface="The Wave Sans TT (Body)"/>
              </a:rPr>
              <a:t>Μέλος</a:t>
            </a:r>
            <a:r>
              <a:rPr lang="en-US" sz="1400">
                <a:latin typeface="The Wave Sans TT (Body)"/>
              </a:rPr>
              <a:t> </a:t>
            </a:r>
            <a:r>
              <a:rPr lang="en-US" sz="1400" err="1">
                <a:latin typeface="The Wave Sans TT (Body)"/>
              </a:rPr>
              <a:t>Διοικητικού</a:t>
            </a:r>
            <a:r>
              <a:rPr lang="en-US" sz="1400">
                <a:latin typeface="The Wave Sans TT (Body)"/>
              </a:rPr>
              <a:t> </a:t>
            </a:r>
            <a:r>
              <a:rPr lang="en-US" sz="1400" err="1">
                <a:latin typeface="The Wave Sans TT (Body)"/>
              </a:rPr>
              <a:t>Συμ</a:t>
            </a:r>
            <a:r>
              <a:rPr lang="en-US" sz="1400">
                <a:latin typeface="The Wave Sans TT (Body)"/>
              </a:rPr>
              <a:t>βουλίου της Ελληνικής Εταιρείας Ενεργειακής Οικονομίας (HAEE)</a:t>
            </a:r>
          </a:p>
          <a:p>
            <a:pPr marL="285750" indent="-285750">
              <a:buClr>
                <a:srgbClr val="002060"/>
              </a:buClr>
              <a:buFont typeface="Wingdings" panose="05000000000000000000" pitchFamily="2" charset="2"/>
              <a:buChar char="§"/>
            </a:pPr>
            <a:r>
              <a:rPr lang="el-GR" sz="1400">
                <a:latin typeface="The Wave Sans TT (Body)"/>
              </a:rPr>
              <a:t>Μέλος του Διοικητικού Συμβουλίου του </a:t>
            </a:r>
            <a:r>
              <a:rPr lang="en-US" sz="1400">
                <a:latin typeface="The Wave Sans TT (Body)"/>
              </a:rPr>
              <a:t>Global Gas Center</a:t>
            </a:r>
          </a:p>
        </p:txBody>
      </p:sp>
      <p:pic>
        <p:nvPicPr>
          <p:cNvPr id="11" name="Picture 10" descr="A person in a blue suit&#10;&#10;AI-generated content may be incorrect.">
            <a:extLst>
              <a:ext uri="{FF2B5EF4-FFF2-40B4-BE49-F238E27FC236}">
                <a16:creationId xmlns:a16="http://schemas.microsoft.com/office/drawing/2014/main" id="{A317E4CA-871F-28AE-D359-CE658C8099E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8333" y="2361081"/>
            <a:ext cx="3265238" cy="2837587"/>
          </a:xfrm>
          <a:prstGeom prst="rect">
            <a:avLst/>
          </a:prstGeom>
        </p:spPr>
      </p:pic>
    </p:spTree>
    <p:extLst>
      <p:ext uri="{BB962C8B-B14F-4D97-AF65-F5344CB8AC3E}">
        <p14:creationId xmlns:p14="http://schemas.microsoft.com/office/powerpoint/2010/main" val="9886862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a:extLst>
              <a:ext uri="{FF2B5EF4-FFF2-40B4-BE49-F238E27FC236}">
                <a16:creationId xmlns:a16="http://schemas.microsoft.com/office/drawing/2014/main" id="{2085998C-6052-1661-2AD5-BFE3092AD3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9" name="Object 68" hidden="1">
                        <a:extLst>
                          <a:ext uri="{FF2B5EF4-FFF2-40B4-BE49-F238E27FC236}">
                            <a16:creationId xmlns:a16="http://schemas.microsoft.com/office/drawing/2014/main" id="{2085998C-6052-1661-2AD5-BFE3092AD3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p:nvPr/>
        </p:nvSpPr>
        <p:spPr>
          <a:xfrm>
            <a:off x="7668138" y="1018763"/>
            <a:ext cx="4167209" cy="382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72000" rtlCol="0" anchor="ctr"/>
          <a:lstStyle>
            <a:defPPr>
              <a:defRPr lang="en-US"/>
            </a:defPPr>
            <a:lvl1pPr marR="0" lvl="0" indent="0" fontAlgn="auto">
              <a:lnSpc>
                <a:spcPct val="114000"/>
              </a:lnSpc>
              <a:spcBef>
                <a:spcPts val="0"/>
              </a:spcBef>
              <a:spcAft>
                <a:spcPts val="0"/>
              </a:spcAft>
              <a:buClrTx/>
              <a:buSzTx/>
              <a:buFontTx/>
              <a:buNone/>
              <a:tabLst/>
              <a:defRPr kumimoji="0" sz="1200" b="1" i="0" u="none" strike="noStrike" cap="none" spc="0" normalizeH="0" baseline="0">
                <a:ln>
                  <a:noFill/>
                </a:ln>
                <a:solidFill>
                  <a:schemeClr val="accent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Well-positioned to build renewables, capturing the full yield of every project phase</a:t>
            </a:r>
          </a:p>
        </p:txBody>
      </p:sp>
      <p:sp>
        <p:nvSpPr>
          <p:cNvPr id="8" name="object 8"/>
          <p:cNvSpPr/>
          <p:nvPr/>
        </p:nvSpPr>
        <p:spPr>
          <a:xfrm>
            <a:off x="7536160" y="1482662"/>
            <a:ext cx="45719" cy="5070531"/>
          </a:xfrm>
          <a:custGeom>
            <a:avLst/>
            <a:gdLst/>
            <a:ahLst/>
            <a:cxnLst/>
            <a:rect l="l" t="t" r="r" b="b"/>
            <a:pathLst>
              <a:path h="4012565">
                <a:moveTo>
                  <a:pt x="0" y="0"/>
                </a:moveTo>
                <a:lnTo>
                  <a:pt x="0" y="4012450"/>
                </a:lnTo>
              </a:path>
            </a:pathLst>
          </a:custGeom>
          <a:ln w="19050">
            <a:solidFill>
              <a:srgbClr val="7E7E7E"/>
            </a:solidFill>
            <a:prstDash val="dot"/>
          </a:ln>
        </p:spPr>
        <p:txBody>
          <a:bodyPr wrap="square" lIns="0" tIns="0" rIns="0" bIns="0" rtlCol="0">
            <a:noAutofit/>
          </a:bodyPr>
          <a:lstStyle/>
          <a:p>
            <a:endParaRPr lang="en-US" sz="1600">
              <a:latin typeface="The Wave Sans TT" panose="00000500000000000000" pitchFamily="2" charset="0"/>
            </a:endParaRPr>
          </a:p>
        </p:txBody>
      </p:sp>
      <p:sp>
        <p:nvSpPr>
          <p:cNvPr id="11" name="object 11"/>
          <p:cNvSpPr>
            <a:spLocks/>
          </p:cNvSpPr>
          <p:nvPr/>
        </p:nvSpPr>
        <p:spPr>
          <a:xfrm>
            <a:off x="459486" y="2743200"/>
            <a:ext cx="6975791" cy="126743"/>
          </a:xfrm>
          <a:custGeom>
            <a:avLst/>
            <a:gdLst/>
            <a:ahLst/>
            <a:cxnLst/>
            <a:rect l="l" t="t" r="r" b="b"/>
            <a:pathLst>
              <a:path w="7020559">
                <a:moveTo>
                  <a:pt x="0" y="0"/>
                </a:moveTo>
                <a:lnTo>
                  <a:pt x="7020052" y="0"/>
                </a:lnTo>
              </a:path>
            </a:pathLst>
          </a:custGeom>
          <a:ln w="19050">
            <a:solidFill>
              <a:srgbClr val="7E7E7E"/>
            </a:solidFill>
            <a:prstDash val="dot"/>
          </a:ln>
        </p:spPr>
        <p:txBody>
          <a:bodyPr wrap="square" lIns="0" tIns="0" rIns="0" bIns="0" rtlCol="0">
            <a:noAutofit/>
          </a:bodyPr>
          <a:lstStyle/>
          <a:p>
            <a:endParaRPr lang="en-US" sz="1600">
              <a:latin typeface="The Wave Sans TT" panose="00000500000000000000" pitchFamily="2" charset="0"/>
            </a:endParaRPr>
          </a:p>
        </p:txBody>
      </p:sp>
      <p:sp>
        <p:nvSpPr>
          <p:cNvPr id="12" name="object 12"/>
          <p:cNvSpPr/>
          <p:nvPr/>
        </p:nvSpPr>
        <p:spPr>
          <a:xfrm flipV="1">
            <a:off x="444245" y="4580031"/>
            <a:ext cx="6963409" cy="113953"/>
          </a:xfrm>
          <a:custGeom>
            <a:avLst/>
            <a:gdLst/>
            <a:ahLst/>
            <a:cxnLst/>
            <a:rect l="l" t="t" r="r" b="b"/>
            <a:pathLst>
              <a:path w="7020559">
                <a:moveTo>
                  <a:pt x="0" y="0"/>
                </a:moveTo>
                <a:lnTo>
                  <a:pt x="7020052" y="0"/>
                </a:lnTo>
              </a:path>
            </a:pathLst>
          </a:custGeom>
          <a:ln w="19050">
            <a:solidFill>
              <a:srgbClr val="7E7E7E"/>
            </a:solidFill>
            <a:prstDash val="dot"/>
          </a:ln>
        </p:spPr>
        <p:txBody>
          <a:bodyPr wrap="square" lIns="0" tIns="0" rIns="0" bIns="0" rtlCol="0"/>
          <a:lstStyle/>
          <a:p>
            <a:endParaRPr lang="en-US" sz="1600">
              <a:latin typeface="The Wave Sans TT" panose="00000500000000000000" pitchFamily="2" charset="0"/>
            </a:endParaRPr>
          </a:p>
        </p:txBody>
      </p:sp>
      <p:sp>
        <p:nvSpPr>
          <p:cNvPr id="13" name="object 13"/>
          <p:cNvSpPr txBox="1"/>
          <p:nvPr/>
        </p:nvSpPr>
        <p:spPr>
          <a:xfrm>
            <a:off x="2486321" y="4731494"/>
            <a:ext cx="4948956" cy="1753685"/>
          </a:xfrm>
          <a:prstGeom prst="rect">
            <a:avLst/>
          </a:prstGeom>
        </p:spPr>
        <p:txBody>
          <a:bodyPr vert="horz" wrap="square" lIns="0" tIns="88265" rIns="0" bIns="0" rtlCol="0">
            <a:spAutoFit/>
          </a:bodyPr>
          <a:lstStyle/>
          <a:p>
            <a:pPr marL="12700">
              <a:lnSpc>
                <a:spcPct val="100000"/>
              </a:lnSpc>
              <a:spcBef>
                <a:spcPts val="695"/>
              </a:spcBef>
              <a:tabLst>
                <a:tab pos="184785" algn="l"/>
              </a:tabLst>
            </a:pPr>
            <a:r>
              <a:rPr lang="en-US" sz="1200" b="1">
                <a:solidFill>
                  <a:schemeClr val="accent5"/>
                </a:solidFill>
                <a:latin typeface="The Wave Sans TT" panose="00000500000000000000" pitchFamily="2" charset="0"/>
                <a:cs typeface="Calibri"/>
              </a:rPr>
              <a:t>Use of existing assets, know-how, new corporate structure and partnerships to become a leading player in the Greek market:</a:t>
            </a:r>
            <a:endParaRPr lang="en-US" sz="1100" b="1">
              <a:solidFill>
                <a:schemeClr val="accent5"/>
              </a:solidFill>
              <a:latin typeface="The Wave Sans TT" panose="00000500000000000000" pitchFamily="2" charset="0"/>
              <a:cs typeface="Calibri"/>
            </a:endParaRPr>
          </a:p>
          <a:p>
            <a:pPr marL="184785" indent="-172085">
              <a:lnSpc>
                <a:spcPct val="100000"/>
              </a:lnSpc>
              <a:spcBef>
                <a:spcPts val="695"/>
              </a:spcBef>
              <a:buClr>
                <a:schemeClr val="accent5"/>
              </a:buClr>
              <a:buFont typeface="Arial"/>
              <a:buChar char="•"/>
              <a:tabLst>
                <a:tab pos="184785" algn="l"/>
              </a:tabLst>
            </a:pPr>
            <a:r>
              <a:rPr lang="en-US" sz="1100">
                <a:latin typeface="The Wave Sans TT" panose="00000500000000000000" pitchFamily="2" charset="0"/>
                <a:cs typeface="Calibri"/>
              </a:rPr>
              <a:t>Develop </a:t>
            </a:r>
            <a:r>
              <a:rPr lang="en-US" sz="1100" b="1">
                <a:solidFill>
                  <a:schemeClr val="accent5"/>
                </a:solidFill>
                <a:latin typeface="The Wave Sans TT" panose="00000500000000000000" pitchFamily="2" charset="0"/>
                <a:cs typeface="Calibri"/>
              </a:rPr>
              <a:t>new projects at scale</a:t>
            </a:r>
          </a:p>
          <a:p>
            <a:pPr marL="184785" indent="-172085">
              <a:lnSpc>
                <a:spcPct val="100000"/>
              </a:lnSpc>
              <a:spcBef>
                <a:spcPts val="695"/>
              </a:spcBef>
              <a:buClr>
                <a:schemeClr val="accent5"/>
              </a:buClr>
              <a:buFont typeface="Arial"/>
              <a:buChar char="•"/>
              <a:tabLst>
                <a:tab pos="184785" algn="l"/>
              </a:tabLst>
            </a:pPr>
            <a:r>
              <a:rPr lang="en-US" sz="1100" b="1">
                <a:solidFill>
                  <a:schemeClr val="accent5"/>
                </a:solidFill>
                <a:latin typeface="The Wave Sans TT" panose="00000500000000000000" pitchFamily="2" charset="0"/>
                <a:cs typeface="Calibri"/>
              </a:rPr>
              <a:t>M&amp;A </a:t>
            </a:r>
            <a:r>
              <a:rPr lang="en-US" sz="1100">
                <a:latin typeface="The Wave Sans TT" panose="00000500000000000000" pitchFamily="2" charset="0"/>
                <a:cs typeface="Calibri"/>
              </a:rPr>
              <a:t>to </a:t>
            </a:r>
            <a:r>
              <a:rPr lang="en-US" sz="1100" b="1">
                <a:solidFill>
                  <a:schemeClr val="accent5"/>
                </a:solidFill>
                <a:latin typeface="The Wave Sans TT" panose="00000500000000000000" pitchFamily="2" charset="0"/>
                <a:cs typeface="Calibri"/>
              </a:rPr>
              <a:t>complement portfolio with more mature assets</a:t>
            </a:r>
          </a:p>
          <a:p>
            <a:pPr marL="184785" indent="-172085">
              <a:lnSpc>
                <a:spcPct val="100000"/>
              </a:lnSpc>
              <a:spcBef>
                <a:spcPts val="695"/>
              </a:spcBef>
              <a:buClr>
                <a:schemeClr val="accent5"/>
              </a:buClr>
              <a:buFont typeface="Arial"/>
              <a:buChar char="•"/>
              <a:tabLst>
                <a:tab pos="184785" algn="l"/>
              </a:tabLst>
            </a:pPr>
            <a:r>
              <a:rPr lang="en-US" sz="1100">
                <a:latin typeface="The Wave Sans TT" panose="00000500000000000000" pitchFamily="2" charset="0"/>
                <a:cs typeface="Calibri"/>
              </a:rPr>
              <a:t>Leverage </a:t>
            </a:r>
            <a:r>
              <a:rPr lang="en-US" sz="1100" b="1">
                <a:solidFill>
                  <a:schemeClr val="accent5"/>
                </a:solidFill>
                <a:latin typeface="The Wave Sans TT" panose="00000500000000000000" pitchFamily="2" charset="0"/>
                <a:cs typeface="Calibri"/>
              </a:rPr>
              <a:t>partnerships</a:t>
            </a:r>
            <a:endParaRPr lang="en-US" sz="1100">
              <a:solidFill>
                <a:srgbClr val="373737"/>
              </a:solidFill>
              <a:latin typeface="The Wave Sans TT" panose="00000500000000000000" pitchFamily="2" charset="0"/>
              <a:cs typeface="Calibri"/>
            </a:endParaRPr>
          </a:p>
          <a:p>
            <a:pPr marL="184785" indent="-172085">
              <a:spcBef>
                <a:spcPts val="695"/>
              </a:spcBef>
              <a:buClr>
                <a:schemeClr val="accent5"/>
              </a:buClr>
              <a:buFont typeface="Arial"/>
              <a:buChar char="•"/>
              <a:tabLst>
                <a:tab pos="184785" algn="l"/>
              </a:tabLst>
            </a:pPr>
            <a:r>
              <a:rPr lang="en-US" sz="1100" b="1">
                <a:solidFill>
                  <a:schemeClr val="accent5"/>
                </a:solidFill>
                <a:latin typeface="The Wave Sans TT" panose="00000500000000000000" pitchFamily="2" charset="0"/>
                <a:cs typeface="Calibri"/>
              </a:rPr>
              <a:t>Balanced</a:t>
            </a:r>
            <a:r>
              <a:rPr lang="en-US" sz="1100" b="1" spc="-10">
                <a:solidFill>
                  <a:schemeClr val="accent5"/>
                </a:solidFill>
                <a:latin typeface="The Wave Sans TT" panose="00000500000000000000" pitchFamily="2" charset="0"/>
                <a:cs typeface="Calibri"/>
              </a:rPr>
              <a:t> </a:t>
            </a:r>
            <a:r>
              <a:rPr lang="en-US" sz="1100" b="1">
                <a:solidFill>
                  <a:schemeClr val="accent5"/>
                </a:solidFill>
                <a:latin typeface="The Wave Sans TT" panose="00000500000000000000" pitchFamily="2" charset="0"/>
                <a:cs typeface="Calibri"/>
              </a:rPr>
              <a:t>mix</a:t>
            </a:r>
            <a:r>
              <a:rPr lang="en-US" sz="1100" b="1" spc="-25">
                <a:solidFill>
                  <a:schemeClr val="accent5"/>
                </a:solidFill>
                <a:latin typeface="The Wave Sans TT" panose="00000500000000000000" pitchFamily="2" charset="0"/>
                <a:cs typeface="Calibri"/>
              </a:rPr>
              <a:t> </a:t>
            </a:r>
            <a:r>
              <a:rPr lang="en-US" sz="1100" spc="-25">
                <a:solidFill>
                  <a:srgbClr val="373737"/>
                </a:solidFill>
                <a:latin typeface="The Wave Sans TT" panose="00000500000000000000" pitchFamily="2" charset="0"/>
                <a:cs typeface="Calibri"/>
              </a:rPr>
              <a:t>among</a:t>
            </a:r>
            <a:r>
              <a:rPr lang="en-US" sz="1100" spc="-20">
                <a:solidFill>
                  <a:srgbClr val="373737"/>
                </a:solidFill>
                <a:latin typeface="The Wave Sans TT" panose="00000500000000000000" pitchFamily="2" charset="0"/>
                <a:cs typeface="Calibri"/>
              </a:rPr>
              <a:t> </a:t>
            </a:r>
            <a:r>
              <a:rPr lang="en-US" sz="1100" spc="-10">
                <a:solidFill>
                  <a:srgbClr val="373737"/>
                </a:solidFill>
                <a:latin typeface="The Wave Sans TT" panose="00000500000000000000" pitchFamily="2" charset="0"/>
                <a:cs typeface="Calibri"/>
              </a:rPr>
              <a:t>solar,</a:t>
            </a:r>
            <a:r>
              <a:rPr lang="en-US" sz="1100" spc="-1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wind</a:t>
            </a:r>
            <a:r>
              <a:rPr lang="en-US" sz="1100" spc="-20">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and</a:t>
            </a:r>
            <a:r>
              <a:rPr lang="en-US" sz="1100" spc="-30">
                <a:solidFill>
                  <a:srgbClr val="373737"/>
                </a:solidFill>
                <a:latin typeface="The Wave Sans TT" panose="00000500000000000000" pitchFamily="2" charset="0"/>
                <a:cs typeface="Calibri"/>
              </a:rPr>
              <a:t> </a:t>
            </a:r>
            <a:r>
              <a:rPr lang="en-US" sz="1100" spc="-10">
                <a:solidFill>
                  <a:srgbClr val="373737"/>
                </a:solidFill>
                <a:latin typeface="The Wave Sans TT" panose="00000500000000000000" pitchFamily="2" charset="0"/>
                <a:cs typeface="Calibri"/>
              </a:rPr>
              <a:t>storage</a:t>
            </a:r>
          </a:p>
          <a:p>
            <a:pPr marL="184785" indent="-172085">
              <a:spcBef>
                <a:spcPts val="695"/>
              </a:spcBef>
              <a:buClr>
                <a:schemeClr val="accent5"/>
              </a:buClr>
              <a:buFont typeface="Arial"/>
              <a:buChar char="•"/>
              <a:tabLst>
                <a:tab pos="184785" algn="l"/>
              </a:tabLst>
            </a:pPr>
            <a:r>
              <a:rPr lang="en-US" sz="1100" b="1" spc="-10">
                <a:solidFill>
                  <a:schemeClr val="accent5"/>
                </a:solidFill>
                <a:latin typeface="The Wave Sans TT" panose="00000500000000000000" pitchFamily="2" charset="0"/>
                <a:cs typeface="Calibri"/>
              </a:rPr>
              <a:t>Capital &amp; return discipline; </a:t>
            </a:r>
            <a:r>
              <a:rPr lang="en-US" sz="1100" spc="-10">
                <a:latin typeface="The Wave Sans TT" panose="00000500000000000000" pitchFamily="2" charset="0"/>
                <a:cs typeface="Calibri"/>
              </a:rPr>
              <a:t>appropriate financing structure</a:t>
            </a:r>
          </a:p>
        </p:txBody>
      </p:sp>
      <p:sp>
        <p:nvSpPr>
          <p:cNvPr id="15" name="object 15"/>
          <p:cNvSpPr txBox="1"/>
          <p:nvPr/>
        </p:nvSpPr>
        <p:spPr>
          <a:xfrm>
            <a:off x="2477193" y="1600887"/>
            <a:ext cx="4761807" cy="935513"/>
          </a:xfrm>
          <a:prstGeom prst="rect">
            <a:avLst/>
          </a:prstGeom>
        </p:spPr>
        <p:txBody>
          <a:bodyPr vert="horz" wrap="square" lIns="0" tIns="62865" rIns="0" bIns="0" rtlCol="0">
            <a:spAutoFit/>
          </a:bodyPr>
          <a:lstStyle/>
          <a:p>
            <a:pPr marL="12700">
              <a:lnSpc>
                <a:spcPct val="100000"/>
              </a:lnSpc>
              <a:spcBef>
                <a:spcPts val="495"/>
              </a:spcBef>
              <a:tabLst>
                <a:tab pos="184785" algn="l"/>
              </a:tabLst>
            </a:pPr>
            <a:r>
              <a:rPr lang="en-US" sz="1200" b="1">
                <a:solidFill>
                  <a:schemeClr val="accent3"/>
                </a:solidFill>
                <a:latin typeface="The Wave Sans TT" panose="00000500000000000000" pitchFamily="2" charset="0"/>
                <a:cs typeface="Calibri"/>
              </a:rPr>
              <a:t>Diversification in a growing energy market:</a:t>
            </a:r>
          </a:p>
          <a:p>
            <a:pPr marL="184785" indent="-172085">
              <a:lnSpc>
                <a:spcPct val="100000"/>
              </a:lnSpc>
              <a:spcBef>
                <a:spcPts val="495"/>
              </a:spcBef>
              <a:buClr>
                <a:schemeClr val="accent3"/>
              </a:buClr>
              <a:buFont typeface="Wingdings" panose="05000000000000000000" pitchFamily="2" charset="2"/>
              <a:buChar char="ü"/>
              <a:tabLst>
                <a:tab pos="184785" algn="l"/>
              </a:tabLst>
            </a:pPr>
            <a:r>
              <a:rPr lang="en-US" sz="1100">
                <a:latin typeface="The Wave Sans TT" panose="00000500000000000000" pitchFamily="2" charset="0"/>
                <a:cs typeface="Calibri"/>
              </a:rPr>
              <a:t>Increasing trends towards </a:t>
            </a:r>
            <a:r>
              <a:rPr lang="en-US" sz="1100" b="1">
                <a:solidFill>
                  <a:schemeClr val="accent3"/>
                </a:solidFill>
                <a:latin typeface="The Wave Sans TT" panose="00000500000000000000" pitchFamily="2" charset="0"/>
                <a:cs typeface="Calibri"/>
              </a:rPr>
              <a:t>electrification</a:t>
            </a:r>
            <a:endParaRPr lang="en-US" sz="1100">
              <a:solidFill>
                <a:schemeClr val="accent3"/>
              </a:solidFill>
              <a:latin typeface="The Wave Sans TT" panose="00000500000000000000" pitchFamily="2" charset="0"/>
              <a:cs typeface="Calibri"/>
            </a:endParaRPr>
          </a:p>
          <a:p>
            <a:pPr marL="184785" indent="-172085">
              <a:lnSpc>
                <a:spcPct val="100000"/>
              </a:lnSpc>
              <a:spcBef>
                <a:spcPts val="495"/>
              </a:spcBef>
              <a:buClr>
                <a:schemeClr val="accent3"/>
              </a:buClr>
              <a:buFont typeface="Arial"/>
              <a:buChar char="•"/>
              <a:tabLst>
                <a:tab pos="184785" algn="l"/>
              </a:tabLst>
            </a:pPr>
            <a:r>
              <a:rPr lang="en-US" sz="1100" b="1">
                <a:solidFill>
                  <a:schemeClr val="accent3"/>
                </a:solidFill>
                <a:latin typeface="The Wave Sans TT" panose="00000500000000000000" pitchFamily="2" charset="0"/>
                <a:cs typeface="Calibri"/>
              </a:rPr>
              <a:t>Greece:</a:t>
            </a:r>
            <a:r>
              <a:rPr lang="en-US" sz="1100" b="1" spc="-50">
                <a:solidFill>
                  <a:srgbClr val="0E54F5"/>
                </a:solidFill>
                <a:latin typeface="The Wave Sans TT" panose="00000500000000000000" pitchFamily="2" charset="0"/>
                <a:cs typeface="Calibri"/>
              </a:rPr>
              <a:t> </a:t>
            </a:r>
            <a:r>
              <a:rPr lang="en-US" sz="1100" spc="-10">
                <a:solidFill>
                  <a:srgbClr val="373737"/>
                </a:solidFill>
                <a:latin typeface="The Wave Sans TT" panose="00000500000000000000" pitchFamily="2" charset="0"/>
                <a:cs typeface="Calibri"/>
              </a:rPr>
              <a:t>favorable</a:t>
            </a:r>
            <a:r>
              <a:rPr lang="en-US" sz="1100" spc="-40">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weather</a:t>
            </a:r>
            <a:r>
              <a:rPr lang="en-US" sz="1100" spc="-1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conditions</a:t>
            </a:r>
            <a:r>
              <a:rPr lang="en-US" sz="1100" spc="-3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solar</a:t>
            </a:r>
            <a:r>
              <a:rPr lang="en-US" sz="1100" spc="-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amp;</a:t>
            </a:r>
            <a:r>
              <a:rPr lang="en-US" sz="1100" spc="-15">
                <a:solidFill>
                  <a:srgbClr val="373737"/>
                </a:solidFill>
                <a:latin typeface="The Wave Sans TT" panose="00000500000000000000" pitchFamily="2" charset="0"/>
                <a:cs typeface="Calibri"/>
              </a:rPr>
              <a:t> </a:t>
            </a:r>
            <a:r>
              <a:rPr lang="en-US" sz="1100" spc="-20">
                <a:solidFill>
                  <a:srgbClr val="373737"/>
                </a:solidFill>
                <a:latin typeface="The Wave Sans TT" panose="00000500000000000000" pitchFamily="2" charset="0"/>
                <a:cs typeface="Calibri"/>
              </a:rPr>
              <a:t>wind), ambitious RES targets</a:t>
            </a:r>
          </a:p>
          <a:p>
            <a:pPr marL="184150" indent="-171450">
              <a:lnSpc>
                <a:spcPct val="100000"/>
              </a:lnSpc>
              <a:spcBef>
                <a:spcPts val="395"/>
              </a:spcBef>
              <a:buClr>
                <a:schemeClr val="accent3"/>
              </a:buClr>
              <a:buFont typeface="Arial" panose="020B0604020202020204" pitchFamily="34" charset="0"/>
              <a:buChar char="•"/>
              <a:tabLst>
                <a:tab pos="184785" algn="l"/>
              </a:tabLst>
            </a:pPr>
            <a:r>
              <a:rPr lang="en-US" sz="1100" b="1">
                <a:solidFill>
                  <a:schemeClr val="accent3"/>
                </a:solidFill>
                <a:latin typeface="The Wave Sans TT" panose="00000500000000000000" pitchFamily="2" charset="0"/>
                <a:cs typeface="Calibri"/>
              </a:rPr>
              <a:t>SEE:</a:t>
            </a:r>
            <a:r>
              <a:rPr lang="en-US" sz="1100" b="1" spc="-35">
                <a:solidFill>
                  <a:schemeClr val="accent3"/>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less</a:t>
            </a:r>
            <a:r>
              <a:rPr lang="en-US" sz="1100" spc="-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mature,</a:t>
            </a:r>
            <a:r>
              <a:rPr lang="en-US" sz="1100" spc="-50">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fast</a:t>
            </a:r>
            <a:r>
              <a:rPr lang="en-US" sz="1100" spc="-25">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growing</a:t>
            </a:r>
            <a:r>
              <a:rPr lang="en-US" sz="1100" spc="-30">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markets</a:t>
            </a:r>
            <a:r>
              <a:rPr lang="en-US" sz="1100" spc="-10">
                <a:solidFill>
                  <a:srgbClr val="373737"/>
                </a:solidFill>
                <a:latin typeface="The Wave Sans TT" panose="00000500000000000000" pitchFamily="2" charset="0"/>
                <a:cs typeface="Calibri"/>
              </a:rPr>
              <a:t> offering</a:t>
            </a:r>
            <a:r>
              <a:rPr lang="en-US" sz="1100" spc="-50">
                <a:solidFill>
                  <a:srgbClr val="373737"/>
                </a:solidFill>
                <a:latin typeface="The Wave Sans TT" panose="00000500000000000000" pitchFamily="2" charset="0"/>
                <a:cs typeface="Calibri"/>
              </a:rPr>
              <a:t> </a:t>
            </a:r>
            <a:r>
              <a:rPr lang="en-US" sz="1100">
                <a:solidFill>
                  <a:srgbClr val="373737"/>
                </a:solidFill>
                <a:latin typeface="The Wave Sans TT" panose="00000500000000000000" pitchFamily="2" charset="0"/>
                <a:cs typeface="Calibri"/>
              </a:rPr>
              <a:t>superior</a:t>
            </a:r>
            <a:r>
              <a:rPr lang="en-US" sz="1100" spc="-45">
                <a:solidFill>
                  <a:srgbClr val="373737"/>
                </a:solidFill>
                <a:latin typeface="The Wave Sans TT" panose="00000500000000000000" pitchFamily="2" charset="0"/>
                <a:cs typeface="Calibri"/>
              </a:rPr>
              <a:t> </a:t>
            </a:r>
            <a:r>
              <a:rPr lang="en-US" sz="1100" spc="-10">
                <a:solidFill>
                  <a:srgbClr val="373737"/>
                </a:solidFill>
                <a:latin typeface="The Wave Sans TT" panose="00000500000000000000" pitchFamily="2" charset="0"/>
                <a:cs typeface="Calibri"/>
              </a:rPr>
              <a:t>returns</a:t>
            </a:r>
            <a:endParaRPr lang="en-US" sz="1100">
              <a:latin typeface="The Wave Sans TT" panose="00000500000000000000" pitchFamily="2" charset="0"/>
              <a:cs typeface="Calibri"/>
            </a:endParaRPr>
          </a:p>
        </p:txBody>
      </p:sp>
      <p:sp>
        <p:nvSpPr>
          <p:cNvPr id="16" name="object 16"/>
          <p:cNvSpPr txBox="1"/>
          <p:nvPr/>
        </p:nvSpPr>
        <p:spPr>
          <a:xfrm>
            <a:off x="2489454" y="2819400"/>
            <a:ext cx="5054346" cy="1712264"/>
          </a:xfrm>
          <a:prstGeom prst="rect">
            <a:avLst/>
          </a:prstGeom>
        </p:spPr>
        <p:txBody>
          <a:bodyPr vert="horz" wrap="square" lIns="0" tIns="12700" rIns="0" bIns="0" rtlCol="0">
            <a:spAutoFit/>
          </a:bodyPr>
          <a:lstStyle/>
          <a:p>
            <a:pPr marL="12065" marR="5080">
              <a:lnSpc>
                <a:spcPct val="110000"/>
              </a:lnSpc>
              <a:spcBef>
                <a:spcPts val="100"/>
              </a:spcBef>
              <a:tabLst>
                <a:tab pos="184785" algn="l"/>
              </a:tabLst>
            </a:pPr>
            <a:r>
              <a:rPr lang="en-US" sz="1200" b="1" spc="-10">
                <a:solidFill>
                  <a:schemeClr val="accent2"/>
                </a:solidFill>
                <a:latin typeface="The Wave Sans TT" panose="00000500000000000000" pitchFamily="2" charset="0"/>
                <a:cs typeface="Calibri"/>
              </a:rPr>
              <a:t>Leading position in the Greek and regional energy market </a:t>
            </a:r>
            <a:r>
              <a:rPr lang="en-US" sz="1200" spc="-10">
                <a:latin typeface="The Wave Sans TT" panose="00000500000000000000" pitchFamily="2" charset="0"/>
                <a:cs typeface="Calibri"/>
              </a:rPr>
              <a:t>with established customer footprint and business integration value:</a:t>
            </a:r>
          </a:p>
          <a:p>
            <a:pPr marL="12065" marR="5080">
              <a:lnSpc>
                <a:spcPct val="110000"/>
              </a:lnSpc>
              <a:spcBef>
                <a:spcPts val="100"/>
              </a:spcBef>
              <a:tabLst>
                <a:tab pos="184785" algn="l"/>
              </a:tabLst>
            </a:pPr>
            <a:endParaRPr lang="en-US" sz="1200" spc="-10">
              <a:latin typeface="The Wave Sans TT" panose="00000500000000000000" pitchFamily="2" charset="0"/>
              <a:cs typeface="Calibri"/>
            </a:endParaRPr>
          </a:p>
          <a:p>
            <a:pPr marL="183515" marR="5080" indent="-171450">
              <a:lnSpc>
                <a:spcPct val="110000"/>
              </a:lnSpc>
              <a:spcBef>
                <a:spcPts val="100"/>
              </a:spcBef>
              <a:buClr>
                <a:schemeClr val="accent2"/>
              </a:buClr>
              <a:buFont typeface="Arial" panose="020B0604020202020204" pitchFamily="34" charset="0"/>
              <a:buChar char="•"/>
              <a:tabLst>
                <a:tab pos="184785" algn="l"/>
              </a:tabLst>
            </a:pPr>
            <a:r>
              <a:rPr lang="en-US" sz="1100">
                <a:latin typeface="The Wave Sans TT" panose="00000500000000000000" pitchFamily="2" charset="0"/>
                <a:cs typeface="Calibri"/>
              </a:rPr>
              <a:t>Technical </a:t>
            </a:r>
            <a:r>
              <a:rPr lang="en-US" sz="1100" b="1">
                <a:solidFill>
                  <a:schemeClr val="accent2"/>
                </a:solidFill>
                <a:latin typeface="The Wave Sans TT" panose="00000500000000000000" pitchFamily="2" charset="0"/>
                <a:cs typeface="Calibri"/>
              </a:rPr>
              <a:t>competence &amp; experience </a:t>
            </a:r>
            <a:r>
              <a:rPr lang="en-US" sz="1100">
                <a:latin typeface="The Wave Sans TT" panose="00000500000000000000" pitchFamily="2" charset="0"/>
                <a:cs typeface="Calibri"/>
              </a:rPr>
              <a:t>with large projects implementation</a:t>
            </a:r>
          </a:p>
          <a:p>
            <a:pPr marL="184785" marR="5080" indent="-172720">
              <a:lnSpc>
                <a:spcPct val="110000"/>
              </a:lnSpc>
              <a:spcBef>
                <a:spcPts val="100"/>
              </a:spcBef>
              <a:buClr>
                <a:schemeClr val="accent2"/>
              </a:buClr>
              <a:buFont typeface="Arial"/>
              <a:buChar char="•"/>
              <a:tabLst>
                <a:tab pos="184785" algn="l"/>
              </a:tabLst>
            </a:pPr>
            <a:endParaRPr lang="en-US" sz="500">
              <a:latin typeface="The Wave Sans TT" panose="00000500000000000000" pitchFamily="2" charset="0"/>
              <a:cs typeface="Calibri"/>
            </a:endParaRPr>
          </a:p>
          <a:p>
            <a:pPr marL="183515" marR="5080" indent="-171450">
              <a:lnSpc>
                <a:spcPct val="110000"/>
              </a:lnSpc>
              <a:spcBef>
                <a:spcPts val="100"/>
              </a:spcBef>
              <a:buClr>
                <a:schemeClr val="accent2"/>
              </a:buClr>
              <a:buFont typeface="Arial" panose="020B0604020202020204" pitchFamily="34" charset="0"/>
              <a:buChar char="•"/>
              <a:tabLst>
                <a:tab pos="184785" algn="l"/>
              </a:tabLst>
            </a:pPr>
            <a:r>
              <a:rPr lang="en-US" sz="1100" b="1">
                <a:solidFill>
                  <a:schemeClr val="accent2"/>
                </a:solidFill>
                <a:latin typeface="The Wave Sans TT" panose="00000500000000000000" pitchFamily="2" charset="0"/>
                <a:cs typeface="Calibri"/>
              </a:rPr>
              <a:t>Long-term investment horizon; can act as consolidator</a:t>
            </a:r>
          </a:p>
          <a:p>
            <a:pPr marL="184785" marR="5080" indent="-172720">
              <a:lnSpc>
                <a:spcPct val="110000"/>
              </a:lnSpc>
              <a:spcBef>
                <a:spcPts val="100"/>
              </a:spcBef>
              <a:buClr>
                <a:schemeClr val="accent2"/>
              </a:buClr>
              <a:buFont typeface="Arial"/>
              <a:buChar char="•"/>
              <a:tabLst>
                <a:tab pos="184785" algn="l"/>
              </a:tabLst>
            </a:pPr>
            <a:endParaRPr lang="en-US" sz="500">
              <a:solidFill>
                <a:schemeClr val="accent2"/>
              </a:solidFill>
              <a:latin typeface="The Wave Sans TT" panose="00000500000000000000" pitchFamily="2" charset="0"/>
              <a:cs typeface="Calibri"/>
            </a:endParaRPr>
          </a:p>
          <a:p>
            <a:pPr marL="183515" marR="5080" indent="-171450">
              <a:lnSpc>
                <a:spcPct val="110000"/>
              </a:lnSpc>
              <a:spcBef>
                <a:spcPts val="100"/>
              </a:spcBef>
              <a:buClr>
                <a:schemeClr val="accent2"/>
              </a:buClr>
              <a:buFont typeface="Arial" panose="020B0604020202020204" pitchFamily="34" charset="0"/>
              <a:buChar char="•"/>
              <a:tabLst>
                <a:tab pos="184785" algn="l"/>
              </a:tabLst>
            </a:pPr>
            <a:r>
              <a:rPr lang="en-US" sz="1100" b="1">
                <a:solidFill>
                  <a:schemeClr val="accent2"/>
                </a:solidFill>
                <a:latin typeface="The Wave Sans TT" panose="00000500000000000000" pitchFamily="2" charset="0"/>
                <a:cs typeface="Calibri"/>
              </a:rPr>
              <a:t>Strong market position in energy market</a:t>
            </a:r>
          </a:p>
          <a:p>
            <a:pPr marL="184785" marR="5080" indent="-172720">
              <a:lnSpc>
                <a:spcPct val="110000"/>
              </a:lnSpc>
              <a:spcBef>
                <a:spcPts val="100"/>
              </a:spcBef>
              <a:buClr>
                <a:schemeClr val="accent2"/>
              </a:buClr>
              <a:buFont typeface="Arial"/>
              <a:buChar char="•"/>
              <a:tabLst>
                <a:tab pos="184785" algn="l"/>
              </a:tabLst>
            </a:pPr>
            <a:endParaRPr lang="en-US" sz="500">
              <a:latin typeface="The Wave Sans TT" panose="00000500000000000000" pitchFamily="2" charset="0"/>
              <a:cs typeface="Calibri"/>
            </a:endParaRPr>
          </a:p>
          <a:p>
            <a:pPr marL="183515" marR="5080" indent="-171450">
              <a:lnSpc>
                <a:spcPct val="110000"/>
              </a:lnSpc>
              <a:spcBef>
                <a:spcPts val="100"/>
              </a:spcBef>
              <a:buClr>
                <a:schemeClr val="accent2"/>
              </a:buClr>
              <a:buFont typeface="Arial" panose="020B0604020202020204" pitchFamily="34" charset="0"/>
              <a:buChar char="•"/>
              <a:tabLst>
                <a:tab pos="184785" algn="l"/>
              </a:tabLst>
            </a:pPr>
            <a:r>
              <a:rPr lang="en-US" sz="1100" b="1">
                <a:solidFill>
                  <a:schemeClr val="accent2"/>
                </a:solidFill>
                <a:latin typeface="The Wave Sans TT" panose="00000500000000000000" pitchFamily="2" charset="0"/>
                <a:cs typeface="Calibri"/>
              </a:rPr>
              <a:t>Synergies</a:t>
            </a:r>
            <a:r>
              <a:rPr lang="en-US" sz="1100" b="1">
                <a:solidFill>
                  <a:schemeClr val="accent6"/>
                </a:solidFill>
                <a:latin typeface="The Wave Sans TT" panose="00000500000000000000" pitchFamily="2" charset="0"/>
                <a:cs typeface="Calibri"/>
              </a:rPr>
              <a:t> </a:t>
            </a:r>
            <a:r>
              <a:rPr lang="en-US" sz="1100">
                <a:latin typeface="The Wave Sans TT" panose="00000500000000000000" pitchFamily="2" charset="0"/>
                <a:cs typeface="Calibri"/>
              </a:rPr>
              <a:t>with downstream and utility businesses</a:t>
            </a:r>
            <a:endParaRPr lang="en-US" sz="1100">
              <a:solidFill>
                <a:schemeClr val="accent6"/>
              </a:solidFill>
              <a:latin typeface="The Wave Sans TT" panose="00000500000000000000" pitchFamily="2" charset="0"/>
              <a:cs typeface="Calibri"/>
            </a:endParaRPr>
          </a:p>
        </p:txBody>
      </p:sp>
      <p:sp>
        <p:nvSpPr>
          <p:cNvPr id="19" name="object 19"/>
          <p:cNvSpPr txBox="1"/>
          <p:nvPr/>
        </p:nvSpPr>
        <p:spPr>
          <a:xfrm>
            <a:off x="8482885" y="1730983"/>
            <a:ext cx="3276000" cy="174407"/>
          </a:xfrm>
          <a:prstGeom prst="rect">
            <a:avLst/>
          </a:prstGeom>
        </p:spPr>
        <p:txBody>
          <a:bodyPr vert="horz" wrap="square" lIns="0" tIns="12700" rIns="0" bIns="0" rtlCol="0">
            <a:spAutoFit/>
          </a:bodyPr>
          <a:lstStyle/>
          <a:p>
            <a:pPr marL="12700">
              <a:lnSpc>
                <a:spcPct val="100000"/>
              </a:lnSpc>
              <a:spcBef>
                <a:spcPts val="100"/>
              </a:spcBef>
            </a:pPr>
            <a:r>
              <a:rPr lang="en-US" sz="1050">
                <a:solidFill>
                  <a:schemeClr val="tx1"/>
                </a:solidFill>
                <a:latin typeface="The Wave Sans TT" panose="00000500000000000000" pitchFamily="2" charset="0"/>
                <a:cs typeface="Calibri" panose="020F0502020204030204" pitchFamily="34" charset="0"/>
              </a:rPr>
              <a:t>Targeted</a:t>
            </a:r>
            <a:r>
              <a:rPr lang="en-US" sz="1050" spc="-25">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returns</a:t>
            </a:r>
            <a:r>
              <a:rPr lang="en-US" sz="1050" spc="-10">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for</a:t>
            </a:r>
            <a:r>
              <a:rPr lang="en-US" sz="1050" spc="-40">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group</a:t>
            </a:r>
            <a:r>
              <a:rPr lang="en-US" sz="1050" spc="-20">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capital</a:t>
            </a:r>
            <a:r>
              <a:rPr lang="en-US" sz="1050" spc="-30">
                <a:solidFill>
                  <a:schemeClr val="tx1"/>
                </a:solidFill>
                <a:latin typeface="The Wave Sans TT" panose="00000500000000000000" pitchFamily="2" charset="0"/>
                <a:cs typeface="Calibri" panose="020F0502020204030204" pitchFamily="34" charset="0"/>
              </a:rPr>
              <a:t> </a:t>
            </a:r>
            <a:r>
              <a:rPr lang="en-US" sz="1050" spc="-10">
                <a:solidFill>
                  <a:schemeClr val="tx1"/>
                </a:solidFill>
                <a:latin typeface="The Wave Sans TT" panose="00000500000000000000" pitchFamily="2" charset="0"/>
                <a:cs typeface="Calibri" panose="020F0502020204030204" pitchFamily="34" charset="0"/>
              </a:rPr>
              <a:t>deployed</a:t>
            </a:r>
            <a:endParaRPr lang="en-US" sz="1050">
              <a:solidFill>
                <a:schemeClr val="tx1"/>
              </a:solidFill>
              <a:latin typeface="The Wave Sans TT" panose="00000500000000000000" pitchFamily="2" charset="0"/>
              <a:cs typeface="Calibri" panose="020F0502020204030204" pitchFamily="34" charset="0"/>
            </a:endParaRPr>
          </a:p>
        </p:txBody>
      </p:sp>
      <p:sp>
        <p:nvSpPr>
          <p:cNvPr id="20" name="object 20"/>
          <p:cNvSpPr txBox="1"/>
          <p:nvPr/>
        </p:nvSpPr>
        <p:spPr>
          <a:xfrm>
            <a:off x="9183084" y="5152006"/>
            <a:ext cx="2109597" cy="348813"/>
          </a:xfrm>
          <a:prstGeom prst="rect">
            <a:avLst/>
          </a:prstGeom>
        </p:spPr>
        <p:txBody>
          <a:bodyPr vert="horz" wrap="square" lIns="0" tIns="12700" rIns="0" bIns="0" rtlCol="0">
            <a:spAutoFit/>
          </a:bodyPr>
          <a:lstStyle/>
          <a:p>
            <a:pPr marL="12700">
              <a:lnSpc>
                <a:spcPct val="100000"/>
              </a:lnSpc>
              <a:spcBef>
                <a:spcPts val="100"/>
              </a:spcBef>
            </a:pPr>
            <a:r>
              <a:rPr lang="en-US" sz="1050">
                <a:solidFill>
                  <a:schemeClr val="tx1"/>
                </a:solidFill>
                <a:latin typeface="The Wave Sans TT" panose="00000500000000000000" pitchFamily="2" charset="0"/>
                <a:cs typeface="Calibri" panose="020F0502020204030204" pitchFamily="34" charset="0"/>
              </a:rPr>
              <a:t>RES</a:t>
            </a:r>
            <a:r>
              <a:rPr lang="en-US" sz="1050" spc="-30">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capacity</a:t>
            </a:r>
            <a:r>
              <a:rPr lang="en-US" sz="1050" spc="-20">
                <a:solidFill>
                  <a:schemeClr val="tx1"/>
                </a:solidFill>
                <a:latin typeface="The Wave Sans TT" panose="00000500000000000000" pitchFamily="2" charset="0"/>
                <a:cs typeface="Calibri" panose="020F0502020204030204" pitchFamily="34" charset="0"/>
              </a:rPr>
              <a:t> </a:t>
            </a:r>
            <a:r>
              <a:rPr lang="en-US" sz="1050" spc="-10">
                <a:solidFill>
                  <a:schemeClr val="tx1"/>
                </a:solidFill>
                <a:latin typeface="The Wave Sans TT" panose="00000500000000000000" pitchFamily="2" charset="0"/>
                <a:cs typeface="Calibri" panose="020F0502020204030204" pitchFamily="34" charset="0"/>
              </a:rPr>
              <a:t>targets</a:t>
            </a:r>
          </a:p>
          <a:p>
            <a:pPr marL="12700">
              <a:lnSpc>
                <a:spcPct val="100000"/>
              </a:lnSpc>
              <a:spcBef>
                <a:spcPts val="100"/>
              </a:spcBef>
            </a:pPr>
            <a:r>
              <a:rPr lang="en-US" sz="1050" spc="-10">
                <a:solidFill>
                  <a:schemeClr val="tx1"/>
                </a:solidFill>
                <a:latin typeface="The Wave Sans TT" panose="00000500000000000000" pitchFamily="2" charset="0"/>
                <a:cs typeface="Calibri" panose="020F0502020204030204" pitchFamily="34" charset="0"/>
              </a:rPr>
              <a:t>(PV, onshore wind and storage)</a:t>
            </a:r>
            <a:endParaRPr lang="en-US" sz="1050">
              <a:solidFill>
                <a:schemeClr val="tx1"/>
              </a:solidFill>
              <a:latin typeface="The Wave Sans TT" panose="00000500000000000000" pitchFamily="2" charset="0"/>
              <a:cs typeface="Calibri" panose="020F0502020204030204" pitchFamily="34" charset="0"/>
            </a:endParaRPr>
          </a:p>
        </p:txBody>
      </p:sp>
      <p:sp>
        <p:nvSpPr>
          <p:cNvPr id="21" name="object 21"/>
          <p:cNvSpPr txBox="1"/>
          <p:nvPr/>
        </p:nvSpPr>
        <p:spPr>
          <a:xfrm>
            <a:off x="8553173" y="5951575"/>
            <a:ext cx="2467157" cy="497572"/>
          </a:xfrm>
          <a:prstGeom prst="rect">
            <a:avLst/>
          </a:prstGeom>
        </p:spPr>
        <p:txBody>
          <a:bodyPr vert="horz" wrap="square" lIns="0" tIns="12700" rIns="0" bIns="0" rtlCol="0">
            <a:spAutoFit/>
          </a:bodyPr>
          <a:lstStyle/>
          <a:p>
            <a:pPr marL="12700">
              <a:lnSpc>
                <a:spcPct val="100000"/>
              </a:lnSpc>
              <a:spcBef>
                <a:spcPts val="100"/>
              </a:spcBef>
            </a:pPr>
            <a:r>
              <a:rPr lang="en-US" sz="1050">
                <a:latin typeface="+mj-lt"/>
                <a:cs typeface="Calibri" panose="020F0502020204030204" pitchFamily="34" charset="0"/>
              </a:rPr>
              <a:t>Appropriate capital structure supported by PF innovative facility, limiting own funds deployment</a:t>
            </a:r>
          </a:p>
        </p:txBody>
      </p:sp>
      <p:grpSp>
        <p:nvGrpSpPr>
          <p:cNvPr id="25" name="object 25"/>
          <p:cNvGrpSpPr/>
          <p:nvPr/>
        </p:nvGrpSpPr>
        <p:grpSpPr>
          <a:xfrm>
            <a:off x="7920841" y="1565884"/>
            <a:ext cx="502284" cy="502284"/>
            <a:chOff x="8262756" y="2482225"/>
            <a:chExt cx="502284" cy="502284"/>
          </a:xfrm>
          <a:solidFill>
            <a:srgbClr val="0E54F5"/>
          </a:solidFill>
        </p:grpSpPr>
        <p:sp>
          <p:nvSpPr>
            <p:cNvPr id="26" name="object 26"/>
            <p:cNvSpPr/>
            <p:nvPr/>
          </p:nvSpPr>
          <p:spPr>
            <a:xfrm>
              <a:off x="8269106" y="2488575"/>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27" name="object 27"/>
            <p:cNvSpPr/>
            <p:nvPr/>
          </p:nvSpPr>
          <p:spPr>
            <a:xfrm>
              <a:off x="8269106" y="2488575"/>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solidFill>
              <a:schemeClr val="accent3"/>
            </a:solid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28" name="object 28"/>
          <p:cNvSpPr txBox="1"/>
          <p:nvPr/>
        </p:nvSpPr>
        <p:spPr>
          <a:xfrm>
            <a:off x="7970109" y="1729502"/>
            <a:ext cx="383412" cy="175048"/>
          </a:xfrm>
          <a:prstGeom prst="rect">
            <a:avLst/>
          </a:prstGeom>
        </p:spPr>
        <p:txBody>
          <a:bodyPr vert="horz" wrap="square" lIns="0" tIns="13335" rIns="0" bIns="0" rtlCol="0">
            <a:spAutoFit/>
          </a:bodyPr>
          <a:lstStyle/>
          <a:p>
            <a:pPr marL="12700" algn="ctr">
              <a:lnSpc>
                <a:spcPct val="100000"/>
              </a:lnSpc>
              <a:spcBef>
                <a:spcPts val="105"/>
              </a:spcBef>
            </a:pPr>
            <a:r>
              <a:rPr lang="en-US" sz="1050" b="1" spc="-20">
                <a:solidFill>
                  <a:srgbClr val="FFFFFF"/>
                </a:solidFill>
                <a:latin typeface="The Wave Sans TT" panose="00000500000000000000" pitchFamily="2" charset="0"/>
                <a:cs typeface="Calibri" panose="020F0502020204030204" pitchFamily="34" charset="0"/>
              </a:rPr>
              <a:t>c.10%</a:t>
            </a:r>
            <a:endParaRPr lang="en-US" sz="1050">
              <a:latin typeface="The Wave Sans TT" panose="00000500000000000000" pitchFamily="2" charset="0"/>
              <a:cs typeface="Calibri" panose="020F0502020204030204" pitchFamily="34" charset="0"/>
            </a:endParaRPr>
          </a:p>
        </p:txBody>
      </p:sp>
      <p:grpSp>
        <p:nvGrpSpPr>
          <p:cNvPr id="29" name="object 29"/>
          <p:cNvGrpSpPr/>
          <p:nvPr/>
        </p:nvGrpSpPr>
        <p:grpSpPr>
          <a:xfrm>
            <a:off x="7920841" y="5966741"/>
            <a:ext cx="502284" cy="502284"/>
            <a:chOff x="8262756" y="3125353"/>
            <a:chExt cx="502284" cy="502284"/>
          </a:xfrm>
          <a:solidFill>
            <a:schemeClr val="accent5"/>
          </a:solidFill>
        </p:grpSpPr>
        <p:sp>
          <p:nvSpPr>
            <p:cNvPr id="30" name="object 30"/>
            <p:cNvSpPr/>
            <p:nvPr/>
          </p:nvSpPr>
          <p:spPr>
            <a:xfrm>
              <a:off x="8269106" y="3131703"/>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900">
                <a:latin typeface="The Wave Sans TT" panose="00000500000000000000" pitchFamily="2" charset="0"/>
                <a:cs typeface="Calibri" panose="020F0502020204030204" pitchFamily="34" charset="0"/>
              </a:endParaRPr>
            </a:p>
          </p:txBody>
        </p:sp>
        <p:sp>
          <p:nvSpPr>
            <p:cNvPr id="31" name="object 31"/>
            <p:cNvSpPr/>
            <p:nvPr/>
          </p:nvSpPr>
          <p:spPr>
            <a:xfrm>
              <a:off x="8269106" y="3131703"/>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grpFill/>
            <a:ln w="12700">
              <a:solidFill>
                <a:schemeClr val="bg1"/>
              </a:solidFill>
            </a:ln>
          </p:spPr>
          <p:txBody>
            <a:bodyPr wrap="square" lIns="0" tIns="0" rIns="0" bIns="0" rtlCol="0"/>
            <a:lstStyle/>
            <a:p>
              <a:endParaRPr lang="en-US" sz="700">
                <a:latin typeface="The Wave Sans TT" panose="00000500000000000000" pitchFamily="2" charset="0"/>
                <a:cs typeface="Calibri" panose="020F0502020204030204" pitchFamily="34" charset="0"/>
              </a:endParaRPr>
            </a:p>
          </p:txBody>
        </p:sp>
      </p:grpSp>
      <p:sp>
        <p:nvSpPr>
          <p:cNvPr id="32" name="object 32"/>
          <p:cNvSpPr txBox="1"/>
          <p:nvPr/>
        </p:nvSpPr>
        <p:spPr>
          <a:xfrm>
            <a:off x="7959058" y="6138053"/>
            <a:ext cx="426084" cy="159659"/>
          </a:xfrm>
          <a:prstGeom prst="rect">
            <a:avLst/>
          </a:prstGeom>
        </p:spPr>
        <p:txBody>
          <a:bodyPr vert="horz" wrap="square" lIns="0" tIns="13335" rIns="0" bIns="0" rtlCol="0" anchor="ctr">
            <a:spAutoFit/>
          </a:bodyPr>
          <a:lstStyle/>
          <a:p>
            <a:pPr marL="12700" algn="ctr">
              <a:lnSpc>
                <a:spcPct val="100000"/>
              </a:lnSpc>
              <a:spcBef>
                <a:spcPts val="105"/>
              </a:spcBef>
            </a:pPr>
            <a:r>
              <a:rPr lang="en-US" sz="950" b="1" spc="-10">
                <a:solidFill>
                  <a:srgbClr val="FFFFFF"/>
                </a:solidFill>
                <a:latin typeface="The Wave Sans TT" panose="00000500000000000000" pitchFamily="2" charset="0"/>
                <a:cs typeface="Calibri" panose="020F0502020204030204" pitchFamily="34" charset="0"/>
              </a:rPr>
              <a:t>€766m</a:t>
            </a:r>
            <a:endParaRPr lang="en-US" sz="950">
              <a:latin typeface="The Wave Sans TT" panose="00000500000000000000" pitchFamily="2" charset="0"/>
              <a:cs typeface="Calibri" panose="020F0502020204030204" pitchFamily="34" charset="0"/>
            </a:endParaRPr>
          </a:p>
        </p:txBody>
      </p:sp>
      <p:grpSp>
        <p:nvGrpSpPr>
          <p:cNvPr id="33" name="object 33"/>
          <p:cNvGrpSpPr/>
          <p:nvPr/>
        </p:nvGrpSpPr>
        <p:grpSpPr>
          <a:xfrm>
            <a:off x="7920841" y="4810115"/>
            <a:ext cx="502284" cy="502284"/>
            <a:chOff x="8262756" y="3817249"/>
            <a:chExt cx="502284" cy="502284"/>
          </a:xfrm>
          <a:solidFill>
            <a:schemeClr val="accent5"/>
          </a:solidFill>
        </p:grpSpPr>
        <p:sp>
          <p:nvSpPr>
            <p:cNvPr id="34" name="object 34"/>
            <p:cNvSpPr/>
            <p:nvPr/>
          </p:nvSpPr>
          <p:spPr>
            <a:xfrm>
              <a:off x="8269106" y="3823599"/>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35" name="object 35"/>
            <p:cNvSpPr/>
            <p:nvPr/>
          </p:nvSpPr>
          <p:spPr>
            <a:xfrm>
              <a:off x="8269106" y="3823599"/>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grp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36" name="object 36"/>
          <p:cNvSpPr txBox="1"/>
          <p:nvPr/>
        </p:nvSpPr>
        <p:spPr>
          <a:xfrm>
            <a:off x="7980394" y="4974054"/>
            <a:ext cx="384175" cy="174407"/>
          </a:xfrm>
          <a:prstGeom prst="rect">
            <a:avLst/>
          </a:prstGeom>
        </p:spPr>
        <p:txBody>
          <a:bodyPr vert="horz" wrap="square" lIns="0" tIns="12700" rIns="0" bIns="0" rtlCol="0">
            <a:spAutoFit/>
          </a:bodyPr>
          <a:lstStyle/>
          <a:p>
            <a:pPr marL="12700">
              <a:lnSpc>
                <a:spcPct val="100000"/>
              </a:lnSpc>
              <a:spcBef>
                <a:spcPts val="100"/>
              </a:spcBef>
            </a:pPr>
            <a:r>
              <a:rPr lang="en-US" sz="1050" b="1" spc="-20">
                <a:solidFill>
                  <a:srgbClr val="FFFFFF"/>
                </a:solidFill>
                <a:latin typeface="The Wave Sans TT" panose="00000500000000000000" pitchFamily="2" charset="0"/>
                <a:cs typeface="Calibri" panose="020F0502020204030204" pitchFamily="34" charset="0"/>
              </a:rPr>
              <a:t>&gt;1GW</a:t>
            </a:r>
            <a:endParaRPr lang="en-US" sz="1050">
              <a:latin typeface="The Wave Sans TT" panose="00000500000000000000" pitchFamily="2" charset="0"/>
              <a:cs typeface="Calibri" panose="020F0502020204030204" pitchFamily="34" charset="0"/>
            </a:endParaRPr>
          </a:p>
        </p:txBody>
      </p:sp>
      <p:grpSp>
        <p:nvGrpSpPr>
          <p:cNvPr id="37" name="object 37"/>
          <p:cNvGrpSpPr/>
          <p:nvPr/>
        </p:nvGrpSpPr>
        <p:grpSpPr>
          <a:xfrm>
            <a:off x="7920841" y="5376362"/>
            <a:ext cx="502284" cy="502284"/>
            <a:chOff x="8262756" y="4362841"/>
            <a:chExt cx="502284" cy="502284"/>
          </a:xfrm>
          <a:solidFill>
            <a:schemeClr val="accent5"/>
          </a:solidFill>
        </p:grpSpPr>
        <p:sp>
          <p:nvSpPr>
            <p:cNvPr id="38" name="object 38"/>
            <p:cNvSpPr/>
            <p:nvPr/>
          </p:nvSpPr>
          <p:spPr>
            <a:xfrm>
              <a:off x="8269106" y="4369191"/>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39" name="object 39"/>
            <p:cNvSpPr/>
            <p:nvPr/>
          </p:nvSpPr>
          <p:spPr>
            <a:xfrm>
              <a:off x="8269106" y="4369191"/>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grp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40" name="object 40"/>
          <p:cNvSpPr txBox="1"/>
          <p:nvPr/>
        </p:nvSpPr>
        <p:spPr>
          <a:xfrm>
            <a:off x="7980394" y="5540301"/>
            <a:ext cx="384175" cy="174407"/>
          </a:xfrm>
          <a:prstGeom prst="rect">
            <a:avLst/>
          </a:prstGeom>
        </p:spPr>
        <p:txBody>
          <a:bodyPr vert="horz" wrap="square" lIns="0" tIns="12700" rIns="0" bIns="0" rtlCol="0">
            <a:spAutoFit/>
          </a:bodyPr>
          <a:lstStyle/>
          <a:p>
            <a:pPr marL="12700">
              <a:lnSpc>
                <a:spcPct val="100000"/>
              </a:lnSpc>
              <a:spcBef>
                <a:spcPts val="100"/>
              </a:spcBef>
            </a:pPr>
            <a:r>
              <a:rPr lang="en-US" sz="1050" b="1" spc="-20">
                <a:solidFill>
                  <a:srgbClr val="FFFFFF"/>
                </a:solidFill>
                <a:latin typeface="The Wave Sans TT" panose="00000500000000000000" pitchFamily="2" charset="0"/>
                <a:cs typeface="Calibri" panose="020F0502020204030204" pitchFamily="34" charset="0"/>
              </a:rPr>
              <a:t>&gt;2GW</a:t>
            </a:r>
            <a:endParaRPr lang="en-US" sz="1050">
              <a:latin typeface="The Wave Sans TT" panose="00000500000000000000" pitchFamily="2" charset="0"/>
              <a:cs typeface="Calibri" panose="020F0502020204030204" pitchFamily="34" charset="0"/>
            </a:endParaRPr>
          </a:p>
        </p:txBody>
      </p:sp>
      <p:sp>
        <p:nvSpPr>
          <p:cNvPr id="41" name="object 41"/>
          <p:cNvSpPr txBox="1"/>
          <p:nvPr/>
        </p:nvSpPr>
        <p:spPr>
          <a:xfrm>
            <a:off x="8507827" y="4974053"/>
            <a:ext cx="399925" cy="174407"/>
          </a:xfrm>
          <a:prstGeom prst="rect">
            <a:avLst/>
          </a:prstGeom>
        </p:spPr>
        <p:txBody>
          <a:bodyPr vert="horz" wrap="square" lIns="0" tIns="12700" rIns="0" bIns="0" rtlCol="0">
            <a:spAutoFit/>
          </a:bodyPr>
          <a:lstStyle/>
          <a:p>
            <a:pPr marL="12700">
              <a:lnSpc>
                <a:spcPct val="100000"/>
              </a:lnSpc>
              <a:spcBef>
                <a:spcPts val="100"/>
              </a:spcBef>
            </a:pPr>
            <a:r>
              <a:rPr lang="en-US" sz="1050" spc="-20">
                <a:latin typeface="The Wave Sans TT" panose="00000500000000000000" pitchFamily="2" charset="0"/>
                <a:cs typeface="Calibri" panose="020F0502020204030204" pitchFamily="34" charset="0"/>
              </a:rPr>
              <a:t>2026</a:t>
            </a:r>
            <a:endParaRPr lang="en-US" sz="1050">
              <a:latin typeface="The Wave Sans TT" panose="00000500000000000000" pitchFamily="2" charset="0"/>
              <a:cs typeface="Calibri" panose="020F0502020204030204" pitchFamily="34" charset="0"/>
            </a:endParaRPr>
          </a:p>
        </p:txBody>
      </p:sp>
      <p:sp>
        <p:nvSpPr>
          <p:cNvPr id="42" name="object 42"/>
          <p:cNvSpPr txBox="1"/>
          <p:nvPr/>
        </p:nvSpPr>
        <p:spPr>
          <a:xfrm>
            <a:off x="8521314" y="5529607"/>
            <a:ext cx="399925" cy="174407"/>
          </a:xfrm>
          <a:prstGeom prst="rect">
            <a:avLst/>
          </a:prstGeom>
        </p:spPr>
        <p:txBody>
          <a:bodyPr vert="horz" wrap="square" lIns="0" tIns="12700" rIns="0" bIns="0" rtlCol="0">
            <a:spAutoFit/>
          </a:bodyPr>
          <a:lstStyle/>
          <a:p>
            <a:pPr marL="12700">
              <a:lnSpc>
                <a:spcPct val="100000"/>
              </a:lnSpc>
              <a:spcBef>
                <a:spcPts val="100"/>
              </a:spcBef>
            </a:pPr>
            <a:r>
              <a:rPr lang="en-US" sz="1050" spc="-20">
                <a:solidFill>
                  <a:schemeClr val="tx1"/>
                </a:solidFill>
                <a:latin typeface="The Wave Sans TT" panose="00000500000000000000" pitchFamily="2" charset="0"/>
                <a:cs typeface="Calibri" panose="020F0502020204030204" pitchFamily="34" charset="0"/>
              </a:rPr>
              <a:t>2030</a:t>
            </a:r>
            <a:endParaRPr lang="en-US" sz="1050">
              <a:solidFill>
                <a:schemeClr val="tx1"/>
              </a:solidFill>
              <a:latin typeface="The Wave Sans TT" panose="00000500000000000000" pitchFamily="2" charset="0"/>
              <a:cs typeface="Calibri" panose="020F0502020204030204" pitchFamily="34" charset="0"/>
            </a:endParaRPr>
          </a:p>
        </p:txBody>
      </p:sp>
      <p:grpSp>
        <p:nvGrpSpPr>
          <p:cNvPr id="43" name="object 43"/>
          <p:cNvGrpSpPr/>
          <p:nvPr/>
        </p:nvGrpSpPr>
        <p:grpSpPr>
          <a:xfrm>
            <a:off x="7920841" y="2146620"/>
            <a:ext cx="502284" cy="502284"/>
            <a:chOff x="8262756" y="5054737"/>
            <a:chExt cx="502284" cy="502284"/>
          </a:xfrm>
          <a:solidFill>
            <a:schemeClr val="accent3"/>
          </a:solidFill>
        </p:grpSpPr>
        <p:sp>
          <p:nvSpPr>
            <p:cNvPr id="44" name="object 44"/>
            <p:cNvSpPr/>
            <p:nvPr/>
          </p:nvSpPr>
          <p:spPr>
            <a:xfrm>
              <a:off x="8269106" y="5061087"/>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solidFill>
                  <a:schemeClr val="bg1"/>
                </a:solidFill>
                <a:latin typeface="The Wave Sans TT" panose="00000500000000000000" pitchFamily="2" charset="0"/>
                <a:cs typeface="Calibri" panose="020F0502020204030204" pitchFamily="34" charset="0"/>
              </a:endParaRPr>
            </a:p>
          </p:txBody>
        </p:sp>
        <p:sp>
          <p:nvSpPr>
            <p:cNvPr id="45" name="object 45"/>
            <p:cNvSpPr/>
            <p:nvPr/>
          </p:nvSpPr>
          <p:spPr>
            <a:xfrm>
              <a:off x="8269106" y="5061087"/>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grpFill/>
            <a:ln w="12700">
              <a:solidFill>
                <a:schemeClr val="bg1"/>
              </a:solidFill>
            </a:ln>
          </p:spPr>
          <p:txBody>
            <a:bodyPr wrap="square" lIns="0" tIns="0" rIns="0" bIns="0" rtlCol="0" anchor="ctr"/>
            <a:lstStyle/>
            <a:p>
              <a:endParaRPr lang="en-US" sz="1050">
                <a:solidFill>
                  <a:schemeClr val="bg1"/>
                </a:solidFill>
                <a:latin typeface="The Wave Sans TT" panose="00000500000000000000" pitchFamily="2" charset="0"/>
                <a:cs typeface="Calibri" panose="020F0502020204030204" pitchFamily="34" charset="0"/>
              </a:endParaRPr>
            </a:p>
          </p:txBody>
        </p:sp>
      </p:grpSp>
      <p:sp>
        <p:nvSpPr>
          <p:cNvPr id="46" name="object 46"/>
          <p:cNvSpPr txBox="1"/>
          <p:nvPr/>
        </p:nvSpPr>
        <p:spPr>
          <a:xfrm>
            <a:off x="8478235" y="2209800"/>
            <a:ext cx="3276000" cy="335989"/>
          </a:xfrm>
          <a:prstGeom prst="rect">
            <a:avLst/>
          </a:prstGeom>
        </p:spPr>
        <p:txBody>
          <a:bodyPr vert="horz" wrap="square" lIns="0" tIns="12700" rIns="0" bIns="0" rtlCol="0">
            <a:spAutoFit/>
          </a:bodyPr>
          <a:lstStyle/>
          <a:p>
            <a:pPr marL="12700">
              <a:lnSpc>
                <a:spcPct val="100000"/>
              </a:lnSpc>
              <a:spcBef>
                <a:spcPts val="100"/>
              </a:spcBef>
            </a:pPr>
            <a:r>
              <a:rPr lang="en-US" sz="1050" spc="-15">
                <a:solidFill>
                  <a:schemeClr val="tx1"/>
                </a:solidFill>
                <a:latin typeface="The Wave Sans TT" panose="00000500000000000000" pitchFamily="2" charset="0"/>
                <a:cs typeface="Calibri" panose="020F0502020204030204" pitchFamily="34" charset="0"/>
              </a:rPr>
              <a:t>Target</a:t>
            </a:r>
            <a:r>
              <a:rPr lang="en-US" sz="1050" b="1" spc="-15">
                <a:solidFill>
                  <a:schemeClr val="tx1"/>
                </a:solidFill>
                <a:latin typeface="The Wave Sans TT" panose="00000500000000000000" pitchFamily="2" charset="0"/>
                <a:cs typeface="Calibri" panose="020F0502020204030204" pitchFamily="34" charset="0"/>
              </a:rPr>
              <a:t> </a:t>
            </a:r>
            <a:r>
              <a:rPr lang="en-US" sz="1050" spc="-15">
                <a:solidFill>
                  <a:schemeClr val="tx1"/>
                </a:solidFill>
                <a:latin typeface="The Wave Sans TT" panose="00000500000000000000" pitchFamily="2" charset="0"/>
                <a:cs typeface="Calibri" panose="020F0502020204030204" pitchFamily="34" charset="0"/>
              </a:rPr>
              <a:t>medium-</a:t>
            </a:r>
            <a:r>
              <a:rPr lang="en-US" sz="1050">
                <a:solidFill>
                  <a:schemeClr val="tx1"/>
                </a:solidFill>
                <a:latin typeface="The Wave Sans TT" panose="00000500000000000000" pitchFamily="2" charset="0"/>
                <a:cs typeface="Calibri" panose="020F0502020204030204" pitchFamily="34" charset="0"/>
              </a:rPr>
              <a:t>term</a:t>
            </a:r>
            <a:r>
              <a:rPr lang="en-US" sz="1050" spc="89">
                <a:solidFill>
                  <a:schemeClr val="tx1"/>
                </a:solidFill>
                <a:latin typeface="The Wave Sans TT" panose="00000500000000000000" pitchFamily="2" charset="0"/>
                <a:cs typeface="Calibri" panose="020F0502020204030204" pitchFamily="34" charset="0"/>
              </a:rPr>
              <a:t> </a:t>
            </a:r>
            <a:r>
              <a:rPr lang="en-US" sz="1050">
                <a:solidFill>
                  <a:schemeClr val="tx1"/>
                </a:solidFill>
                <a:latin typeface="The Wave Sans TT" panose="00000500000000000000" pitchFamily="2" charset="0"/>
                <a:cs typeface="Calibri" panose="020F0502020204030204" pitchFamily="34" charset="0"/>
              </a:rPr>
              <a:t>EBITDA</a:t>
            </a:r>
            <a:r>
              <a:rPr lang="en-US" sz="1050" spc="-30">
                <a:solidFill>
                  <a:schemeClr val="tx1"/>
                </a:solidFill>
                <a:latin typeface="The Wave Sans TT" panose="00000500000000000000" pitchFamily="2" charset="0"/>
                <a:cs typeface="Calibri" panose="020F0502020204030204" pitchFamily="34" charset="0"/>
              </a:rPr>
              <a:t> </a:t>
            </a:r>
            <a:r>
              <a:rPr lang="en-US" sz="1050" spc="-15">
                <a:solidFill>
                  <a:schemeClr val="tx1"/>
                </a:solidFill>
                <a:latin typeface="The Wave Sans TT" panose="00000500000000000000" pitchFamily="2" charset="0"/>
                <a:cs typeface="Calibri" panose="020F0502020204030204" pitchFamily="34" charset="0"/>
              </a:rPr>
              <a:t>contribution, matching contribution from industrial activities</a:t>
            </a:r>
            <a:endParaRPr lang="en-US" sz="1050">
              <a:solidFill>
                <a:schemeClr val="tx1"/>
              </a:solidFill>
              <a:latin typeface="The Wave Sans TT" panose="00000500000000000000" pitchFamily="2" charset="0"/>
              <a:cs typeface="Calibri" panose="020F0502020204030204" pitchFamily="34" charset="0"/>
            </a:endParaRPr>
          </a:p>
        </p:txBody>
      </p:sp>
      <p:sp>
        <p:nvSpPr>
          <p:cNvPr id="47" name="object 47"/>
          <p:cNvSpPr/>
          <p:nvPr/>
        </p:nvSpPr>
        <p:spPr>
          <a:xfrm>
            <a:off x="8985728" y="4991842"/>
            <a:ext cx="119380" cy="684530"/>
          </a:xfrm>
          <a:custGeom>
            <a:avLst/>
            <a:gdLst/>
            <a:ahLst/>
            <a:cxnLst/>
            <a:rect l="l" t="t" r="r" b="b"/>
            <a:pathLst>
              <a:path w="119379" h="684529">
                <a:moveTo>
                  <a:pt x="0" y="0"/>
                </a:moveTo>
                <a:lnTo>
                  <a:pt x="23110" y="779"/>
                </a:lnTo>
                <a:lnTo>
                  <a:pt x="42005" y="2905"/>
                </a:lnTo>
                <a:lnTo>
                  <a:pt x="54756" y="6054"/>
                </a:lnTo>
                <a:lnTo>
                  <a:pt x="59435" y="9906"/>
                </a:lnTo>
                <a:lnTo>
                  <a:pt x="59435" y="332231"/>
                </a:lnTo>
                <a:lnTo>
                  <a:pt x="64115" y="336083"/>
                </a:lnTo>
                <a:lnTo>
                  <a:pt x="76866" y="339232"/>
                </a:lnTo>
                <a:lnTo>
                  <a:pt x="95761" y="341358"/>
                </a:lnTo>
                <a:lnTo>
                  <a:pt x="118872" y="342138"/>
                </a:lnTo>
                <a:lnTo>
                  <a:pt x="95761" y="342917"/>
                </a:lnTo>
                <a:lnTo>
                  <a:pt x="76866" y="345043"/>
                </a:lnTo>
                <a:lnTo>
                  <a:pt x="64115" y="348192"/>
                </a:lnTo>
                <a:lnTo>
                  <a:pt x="59435" y="352044"/>
                </a:lnTo>
                <a:lnTo>
                  <a:pt x="59435" y="674369"/>
                </a:lnTo>
                <a:lnTo>
                  <a:pt x="54756" y="678221"/>
                </a:lnTo>
                <a:lnTo>
                  <a:pt x="42005" y="681370"/>
                </a:lnTo>
                <a:lnTo>
                  <a:pt x="23110" y="683496"/>
                </a:lnTo>
                <a:lnTo>
                  <a:pt x="0" y="684276"/>
                </a:lnTo>
              </a:path>
            </a:pathLst>
          </a:custGeom>
          <a:ln w="6350">
            <a:solidFill>
              <a:schemeClr val="accent5"/>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48" name="object 48"/>
          <p:cNvSpPr txBox="1">
            <a:spLocks noGrp="1"/>
          </p:cNvSpPr>
          <p:nvPr>
            <p:ph type="sldNum" sz="quarter" idx="7"/>
          </p:nvPr>
        </p:nvSpPr>
        <p:spPr>
          <a:xfrm>
            <a:off x="405384" y="6273114"/>
            <a:ext cx="2084070" cy="128240"/>
          </a:xfrm>
          <a:prstGeom prst="rect">
            <a:avLst/>
          </a:prstGeom>
        </p:spPr>
        <p:txBody>
          <a:bodyPr vert="horz" wrap="square" lIns="0" tIns="0" rIns="0" bIns="0" rtlCol="0">
            <a:spAutoFit/>
          </a:bodyPr>
          <a:lstStyle/>
          <a:p>
            <a:pPr marL="38100">
              <a:lnSpc>
                <a:spcPts val="1045"/>
              </a:lnSpc>
            </a:pPr>
            <a:fld id="{81D60167-4931-47E6-BA6A-407CBD079E47}" type="slidenum">
              <a:rPr lang="en-US" sz="900" spc="-25" smtClean="0">
                <a:latin typeface="The Wave Sans TT" panose="00000500000000000000" pitchFamily="2" charset="0"/>
              </a:rPr>
              <a:pPr marL="38100">
                <a:lnSpc>
                  <a:spcPts val="1045"/>
                </a:lnSpc>
              </a:pPr>
              <a:t>40</a:t>
            </a:fld>
            <a:endParaRPr lang="en-US" sz="900" spc="-25">
              <a:latin typeface="The Wave Sans TT" panose="00000500000000000000" pitchFamily="2" charset="0"/>
            </a:endParaRPr>
          </a:p>
        </p:txBody>
      </p:sp>
      <p:sp>
        <p:nvSpPr>
          <p:cNvPr id="54" name="Rectangle 53">
            <a:extLst>
              <a:ext uri="{FF2B5EF4-FFF2-40B4-BE49-F238E27FC236}">
                <a16:creationId xmlns:a16="http://schemas.microsoft.com/office/drawing/2014/main" id="{3F669AFC-A022-3153-17C2-61DAD4B1BB48}"/>
              </a:ext>
            </a:extLst>
          </p:cNvPr>
          <p:cNvSpPr/>
          <p:nvPr/>
        </p:nvSpPr>
        <p:spPr>
          <a:xfrm>
            <a:off x="444245" y="1524000"/>
            <a:ext cx="1917955" cy="1143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a:endParaRPr lang="en-US" sz="1200" b="1">
              <a:latin typeface="The Wave Sans TT" panose="00000500000000000000" pitchFamily="2" charset="0"/>
            </a:endParaRPr>
          </a:p>
        </p:txBody>
      </p:sp>
      <p:sp>
        <p:nvSpPr>
          <p:cNvPr id="55" name="Rectangle 54">
            <a:extLst>
              <a:ext uri="{FF2B5EF4-FFF2-40B4-BE49-F238E27FC236}">
                <a16:creationId xmlns:a16="http://schemas.microsoft.com/office/drawing/2014/main" id="{DD105B0D-7BBA-CAD1-01D4-25EA9E86188B}"/>
              </a:ext>
            </a:extLst>
          </p:cNvPr>
          <p:cNvSpPr/>
          <p:nvPr/>
        </p:nvSpPr>
        <p:spPr>
          <a:xfrm>
            <a:off x="444245" y="2795352"/>
            <a:ext cx="1917955" cy="184477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3" algn="ctr"/>
            <a:r>
              <a:rPr lang="en-US" sz="1200" b="1">
                <a:latin typeface="The Wave Sans TT" panose="00000500000000000000" pitchFamily="2" charset="0"/>
              </a:rPr>
              <a:t> </a:t>
            </a:r>
          </a:p>
        </p:txBody>
      </p:sp>
      <p:sp>
        <p:nvSpPr>
          <p:cNvPr id="56" name="Rectangle 55">
            <a:extLst>
              <a:ext uri="{FF2B5EF4-FFF2-40B4-BE49-F238E27FC236}">
                <a16:creationId xmlns:a16="http://schemas.microsoft.com/office/drawing/2014/main" id="{40671386-7EDE-FA13-454A-3A21E7B85E01}"/>
              </a:ext>
            </a:extLst>
          </p:cNvPr>
          <p:cNvSpPr/>
          <p:nvPr/>
        </p:nvSpPr>
        <p:spPr>
          <a:xfrm>
            <a:off x="444245" y="4750694"/>
            <a:ext cx="1917955" cy="1742124"/>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3" algn="ctr"/>
            <a:endParaRPr lang="en-US" sz="1200" b="1">
              <a:latin typeface="The Wave Sans TT" panose="00000500000000000000" pitchFamily="2" charset="0"/>
            </a:endParaRPr>
          </a:p>
        </p:txBody>
      </p:sp>
      <p:sp>
        <p:nvSpPr>
          <p:cNvPr id="70" name="object 3">
            <a:extLst>
              <a:ext uri="{FF2B5EF4-FFF2-40B4-BE49-F238E27FC236}">
                <a16:creationId xmlns:a16="http://schemas.microsoft.com/office/drawing/2014/main" id="{93CFE708-79C5-0D71-DB80-6E68E258A76A}"/>
              </a:ext>
            </a:extLst>
          </p:cNvPr>
          <p:cNvSpPr txBox="1"/>
          <p:nvPr/>
        </p:nvSpPr>
        <p:spPr>
          <a:xfrm>
            <a:off x="473984" y="1179087"/>
            <a:ext cx="7107895" cy="211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72000" rtlCol="0" anchor="ctr"/>
          <a:lstStyle>
            <a:defPPr>
              <a:defRPr lang="en-US"/>
            </a:defPPr>
            <a:lvl1pPr marR="0" lvl="0" indent="0" fontAlgn="auto">
              <a:lnSpc>
                <a:spcPct val="114000"/>
              </a:lnSpc>
              <a:spcBef>
                <a:spcPts val="0"/>
              </a:spcBef>
              <a:spcAft>
                <a:spcPts val="0"/>
              </a:spcAft>
              <a:buClrTx/>
              <a:buSzTx/>
              <a:buFontTx/>
              <a:buNone/>
              <a:tabLst/>
              <a:defRPr kumimoji="0" sz="1200" b="1" i="0" u="none" strike="noStrike" cap="none" spc="0" normalizeH="0" baseline="0">
                <a:ln>
                  <a:noFill/>
                </a:ln>
                <a:solidFill>
                  <a:schemeClr val="accent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Strategic considerations – aspiring to become one of the 2-3 top RES players in Greece</a:t>
            </a:r>
          </a:p>
        </p:txBody>
      </p:sp>
      <p:sp>
        <p:nvSpPr>
          <p:cNvPr id="53" name="object 28">
            <a:extLst>
              <a:ext uri="{FF2B5EF4-FFF2-40B4-BE49-F238E27FC236}">
                <a16:creationId xmlns:a16="http://schemas.microsoft.com/office/drawing/2014/main" id="{DE91708B-EA1E-4027-C2E7-C7BB6DAA3FD5}"/>
              </a:ext>
            </a:extLst>
          </p:cNvPr>
          <p:cNvSpPr txBox="1"/>
          <p:nvPr/>
        </p:nvSpPr>
        <p:spPr>
          <a:xfrm>
            <a:off x="7934295" y="2314085"/>
            <a:ext cx="455040" cy="167354"/>
          </a:xfrm>
          <a:prstGeom prst="rect">
            <a:avLst/>
          </a:prstGeom>
        </p:spPr>
        <p:txBody>
          <a:bodyPr vert="horz" wrap="square" lIns="0" tIns="13335" rIns="0" bIns="0" rtlCol="0">
            <a:spAutoFit/>
          </a:bodyPr>
          <a:lstStyle/>
          <a:p>
            <a:pPr marL="12700" algn="ctr">
              <a:lnSpc>
                <a:spcPct val="100000"/>
              </a:lnSpc>
              <a:spcBef>
                <a:spcPts val="105"/>
              </a:spcBef>
            </a:pPr>
            <a:r>
              <a:rPr lang="en-US" sz="1000" b="1" spc="-20">
                <a:solidFill>
                  <a:srgbClr val="FFFFFF"/>
                </a:solidFill>
                <a:latin typeface="The Wave Sans TT" panose="00000500000000000000" pitchFamily="2" charset="0"/>
                <a:cs typeface="Calibri" panose="020F0502020204030204" pitchFamily="34" charset="0"/>
              </a:rPr>
              <a:t>€200m</a:t>
            </a:r>
            <a:endParaRPr lang="en-US" sz="1000">
              <a:latin typeface="The Wave Sans TT" panose="00000500000000000000" pitchFamily="2" charset="0"/>
              <a:cs typeface="Calibri" panose="020F0502020204030204" pitchFamily="34" charset="0"/>
            </a:endParaRPr>
          </a:p>
        </p:txBody>
      </p:sp>
      <p:grpSp>
        <p:nvGrpSpPr>
          <p:cNvPr id="5" name="object 43">
            <a:extLst>
              <a:ext uri="{FF2B5EF4-FFF2-40B4-BE49-F238E27FC236}">
                <a16:creationId xmlns:a16="http://schemas.microsoft.com/office/drawing/2014/main" id="{76C621E4-9273-CC8C-0F30-9300844DBB01}"/>
              </a:ext>
            </a:extLst>
          </p:cNvPr>
          <p:cNvGrpSpPr/>
          <p:nvPr/>
        </p:nvGrpSpPr>
        <p:grpSpPr>
          <a:xfrm>
            <a:off x="7920841" y="3486903"/>
            <a:ext cx="502284" cy="502284"/>
            <a:chOff x="8262756" y="5054737"/>
            <a:chExt cx="502284" cy="502284"/>
          </a:xfrm>
          <a:solidFill>
            <a:schemeClr val="accent6"/>
          </a:solidFill>
        </p:grpSpPr>
        <p:sp>
          <p:nvSpPr>
            <p:cNvPr id="6" name="object 44">
              <a:extLst>
                <a:ext uri="{FF2B5EF4-FFF2-40B4-BE49-F238E27FC236}">
                  <a16:creationId xmlns:a16="http://schemas.microsoft.com/office/drawing/2014/main" id="{D68B7F51-E151-FFF8-D69A-2729D980DB71}"/>
                </a:ext>
              </a:extLst>
            </p:cNvPr>
            <p:cNvSpPr/>
            <p:nvPr/>
          </p:nvSpPr>
          <p:spPr>
            <a:xfrm>
              <a:off x="8269106" y="5061087"/>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7" name="object 45">
              <a:extLst>
                <a:ext uri="{FF2B5EF4-FFF2-40B4-BE49-F238E27FC236}">
                  <a16:creationId xmlns:a16="http://schemas.microsoft.com/office/drawing/2014/main" id="{95914109-CF91-E524-8359-14FCCC4371BD}"/>
                </a:ext>
              </a:extLst>
            </p:cNvPr>
            <p:cNvSpPr/>
            <p:nvPr/>
          </p:nvSpPr>
          <p:spPr>
            <a:xfrm>
              <a:off x="8269106" y="5061087"/>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solidFill>
              <a:schemeClr val="accent2"/>
            </a:solid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9" name="object 46">
            <a:extLst>
              <a:ext uri="{FF2B5EF4-FFF2-40B4-BE49-F238E27FC236}">
                <a16:creationId xmlns:a16="http://schemas.microsoft.com/office/drawing/2014/main" id="{D69E0F6B-8C1F-0D9A-BFDC-73C9BA1317B5}"/>
              </a:ext>
            </a:extLst>
          </p:cNvPr>
          <p:cNvSpPr txBox="1"/>
          <p:nvPr/>
        </p:nvSpPr>
        <p:spPr>
          <a:xfrm>
            <a:off x="8499400" y="3621319"/>
            <a:ext cx="3276000" cy="174407"/>
          </a:xfrm>
          <a:prstGeom prst="rect">
            <a:avLst/>
          </a:prstGeom>
        </p:spPr>
        <p:txBody>
          <a:bodyPr vert="horz" wrap="square" lIns="0" tIns="12700" rIns="0" bIns="0" rtlCol="0">
            <a:spAutoFit/>
          </a:bodyPr>
          <a:lstStyle/>
          <a:p>
            <a:pPr marL="12700">
              <a:lnSpc>
                <a:spcPct val="100000"/>
              </a:lnSpc>
              <a:spcBef>
                <a:spcPts val="100"/>
              </a:spcBef>
            </a:pPr>
            <a:r>
              <a:rPr lang="en-US" sz="1050" spc="-15">
                <a:latin typeface="The Wave Sans TT" panose="00000500000000000000" pitchFamily="2" charset="0"/>
                <a:cs typeface="Calibri" panose="020F0502020204030204" pitchFamily="34" charset="0"/>
              </a:rPr>
              <a:t>Leading </a:t>
            </a:r>
            <a:r>
              <a:rPr lang="en-US" sz="1050" spc="-15">
                <a:solidFill>
                  <a:schemeClr val="tx1"/>
                </a:solidFill>
                <a:latin typeface="The Wave Sans TT" panose="00000500000000000000" pitchFamily="2" charset="0"/>
                <a:cs typeface="Calibri" panose="020F0502020204030204" pitchFamily="34" charset="0"/>
              </a:rPr>
              <a:t>solar PV operator in Greece </a:t>
            </a:r>
            <a:endParaRPr lang="en-US" sz="1050">
              <a:solidFill>
                <a:schemeClr val="tx1"/>
              </a:solidFill>
              <a:latin typeface="The Wave Sans TT" panose="00000500000000000000" pitchFamily="2" charset="0"/>
              <a:cs typeface="Calibri" panose="020F0502020204030204" pitchFamily="34" charset="0"/>
            </a:endParaRPr>
          </a:p>
        </p:txBody>
      </p:sp>
      <p:sp>
        <p:nvSpPr>
          <p:cNvPr id="14" name="object 28">
            <a:extLst>
              <a:ext uri="{FF2B5EF4-FFF2-40B4-BE49-F238E27FC236}">
                <a16:creationId xmlns:a16="http://schemas.microsoft.com/office/drawing/2014/main" id="{46E6CB89-0F95-62C2-28C4-39F6F56F9E99}"/>
              </a:ext>
            </a:extLst>
          </p:cNvPr>
          <p:cNvSpPr txBox="1"/>
          <p:nvPr/>
        </p:nvSpPr>
        <p:spPr>
          <a:xfrm>
            <a:off x="8001730" y="3575427"/>
            <a:ext cx="340995" cy="336631"/>
          </a:xfrm>
          <a:prstGeom prst="rect">
            <a:avLst/>
          </a:prstGeom>
        </p:spPr>
        <p:txBody>
          <a:bodyPr vert="horz" wrap="square" lIns="0" tIns="13335" rIns="0" bIns="0" rtlCol="0">
            <a:spAutoFit/>
          </a:bodyPr>
          <a:lstStyle/>
          <a:p>
            <a:pPr marL="12700" algn="ctr">
              <a:lnSpc>
                <a:spcPct val="100000"/>
              </a:lnSpc>
              <a:spcBef>
                <a:spcPts val="105"/>
              </a:spcBef>
            </a:pPr>
            <a:r>
              <a:rPr lang="en-US" sz="1050" b="1" spc="-20">
                <a:solidFill>
                  <a:srgbClr val="FFFFFF"/>
                </a:solidFill>
                <a:latin typeface="The Wave Sans TT" panose="00000500000000000000" pitchFamily="2" charset="0"/>
                <a:cs typeface="Calibri" panose="020F0502020204030204" pitchFamily="34" charset="0"/>
              </a:rPr>
              <a:t>0.</a:t>
            </a:r>
            <a:r>
              <a:rPr lang="el-GR" sz="1050" b="1" spc="-20">
                <a:solidFill>
                  <a:srgbClr val="FFFFFF"/>
                </a:solidFill>
                <a:latin typeface="The Wave Sans TT" panose="00000500000000000000" pitchFamily="2" charset="0"/>
                <a:cs typeface="Calibri" panose="020F0502020204030204" pitchFamily="34" charset="0"/>
              </a:rPr>
              <a:t>5</a:t>
            </a:r>
            <a:r>
              <a:rPr lang="en-US" sz="1050" b="1" spc="-20">
                <a:solidFill>
                  <a:srgbClr val="FFFFFF"/>
                </a:solidFill>
                <a:latin typeface="The Wave Sans TT" panose="00000500000000000000" pitchFamily="2" charset="0"/>
                <a:cs typeface="Calibri" panose="020F0502020204030204" pitchFamily="34" charset="0"/>
              </a:rPr>
              <a:t> GW</a:t>
            </a:r>
            <a:endParaRPr lang="en-US" sz="1050">
              <a:latin typeface="The Wave Sans TT" panose="00000500000000000000" pitchFamily="2" charset="0"/>
              <a:cs typeface="Calibri" panose="020F0502020204030204" pitchFamily="34" charset="0"/>
            </a:endParaRPr>
          </a:p>
        </p:txBody>
      </p:sp>
      <p:grpSp>
        <p:nvGrpSpPr>
          <p:cNvPr id="17" name="object 43">
            <a:extLst>
              <a:ext uri="{FF2B5EF4-FFF2-40B4-BE49-F238E27FC236}">
                <a16:creationId xmlns:a16="http://schemas.microsoft.com/office/drawing/2014/main" id="{A8894961-F4BA-AABB-0E40-769D0FEECD80}"/>
              </a:ext>
            </a:extLst>
          </p:cNvPr>
          <p:cNvGrpSpPr/>
          <p:nvPr/>
        </p:nvGrpSpPr>
        <p:grpSpPr>
          <a:xfrm>
            <a:off x="7920841" y="4054000"/>
            <a:ext cx="502284" cy="502284"/>
            <a:chOff x="8262756" y="5054737"/>
            <a:chExt cx="502284" cy="502284"/>
          </a:xfrm>
          <a:solidFill>
            <a:schemeClr val="accent6"/>
          </a:solidFill>
        </p:grpSpPr>
        <p:sp>
          <p:nvSpPr>
            <p:cNvPr id="49" name="object 44">
              <a:extLst>
                <a:ext uri="{FF2B5EF4-FFF2-40B4-BE49-F238E27FC236}">
                  <a16:creationId xmlns:a16="http://schemas.microsoft.com/office/drawing/2014/main" id="{53853AAF-D431-4AC1-2FD1-562861B6EB6D}"/>
                </a:ext>
              </a:extLst>
            </p:cNvPr>
            <p:cNvSpPr/>
            <p:nvPr/>
          </p:nvSpPr>
          <p:spPr>
            <a:xfrm>
              <a:off x="8269106" y="5061087"/>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50" name="object 45">
              <a:extLst>
                <a:ext uri="{FF2B5EF4-FFF2-40B4-BE49-F238E27FC236}">
                  <a16:creationId xmlns:a16="http://schemas.microsoft.com/office/drawing/2014/main" id="{960353CF-88B6-F484-06BE-58FB8A49AD88}"/>
                </a:ext>
              </a:extLst>
            </p:cNvPr>
            <p:cNvSpPr/>
            <p:nvPr/>
          </p:nvSpPr>
          <p:spPr>
            <a:xfrm>
              <a:off x="8269106" y="5061087"/>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solidFill>
              <a:schemeClr val="accent2"/>
            </a:solid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51" name="object 46">
            <a:extLst>
              <a:ext uri="{FF2B5EF4-FFF2-40B4-BE49-F238E27FC236}">
                <a16:creationId xmlns:a16="http://schemas.microsoft.com/office/drawing/2014/main" id="{A498A678-5DC9-9B61-A4CF-9B5A5E6E14A4}"/>
              </a:ext>
            </a:extLst>
          </p:cNvPr>
          <p:cNvSpPr txBox="1"/>
          <p:nvPr/>
        </p:nvSpPr>
        <p:spPr>
          <a:xfrm>
            <a:off x="8516299" y="4188200"/>
            <a:ext cx="3276000" cy="174407"/>
          </a:xfrm>
          <a:prstGeom prst="rect">
            <a:avLst/>
          </a:prstGeom>
        </p:spPr>
        <p:txBody>
          <a:bodyPr vert="horz" wrap="square" lIns="0" tIns="12700" rIns="0" bIns="0" rtlCol="0">
            <a:spAutoFit/>
          </a:bodyPr>
          <a:lstStyle/>
          <a:p>
            <a:pPr marL="12700">
              <a:lnSpc>
                <a:spcPct val="100000"/>
              </a:lnSpc>
              <a:spcBef>
                <a:spcPts val="100"/>
              </a:spcBef>
            </a:pPr>
            <a:r>
              <a:rPr lang="en-US" sz="1050" spc="-15">
                <a:solidFill>
                  <a:schemeClr val="tx1"/>
                </a:solidFill>
                <a:latin typeface="The Wave Sans TT" panose="00000500000000000000" pitchFamily="2" charset="0"/>
                <a:cs typeface="Calibri" panose="020F0502020204030204" pitchFamily="34" charset="0"/>
              </a:rPr>
              <a:t>Capacity secured in storage auction</a:t>
            </a:r>
            <a:endParaRPr lang="en-US" sz="1050">
              <a:solidFill>
                <a:schemeClr val="tx1"/>
              </a:solidFill>
              <a:latin typeface="The Wave Sans TT" panose="00000500000000000000" pitchFamily="2" charset="0"/>
              <a:cs typeface="Calibri" panose="020F0502020204030204" pitchFamily="34" charset="0"/>
            </a:endParaRPr>
          </a:p>
        </p:txBody>
      </p:sp>
      <p:sp>
        <p:nvSpPr>
          <p:cNvPr id="52" name="object 28">
            <a:extLst>
              <a:ext uri="{FF2B5EF4-FFF2-40B4-BE49-F238E27FC236}">
                <a16:creationId xmlns:a16="http://schemas.microsoft.com/office/drawing/2014/main" id="{DBC4B2CE-98EC-E836-D35D-C7A80E5B78B9}"/>
              </a:ext>
            </a:extLst>
          </p:cNvPr>
          <p:cNvSpPr txBox="1"/>
          <p:nvPr/>
        </p:nvSpPr>
        <p:spPr>
          <a:xfrm>
            <a:off x="7932322" y="4162854"/>
            <a:ext cx="489584" cy="349455"/>
          </a:xfrm>
          <a:prstGeom prst="rect">
            <a:avLst/>
          </a:prstGeom>
        </p:spPr>
        <p:txBody>
          <a:bodyPr vert="horz" wrap="square" lIns="0" tIns="13335" rIns="0" bIns="0" rtlCol="0">
            <a:spAutoFit/>
          </a:bodyPr>
          <a:lstStyle/>
          <a:p>
            <a:pPr marL="12700" algn="ctr">
              <a:lnSpc>
                <a:spcPct val="100000"/>
              </a:lnSpc>
              <a:spcBef>
                <a:spcPts val="105"/>
              </a:spcBef>
            </a:pPr>
            <a:r>
              <a:rPr lang="en-US" sz="1050" b="1" spc="-20">
                <a:solidFill>
                  <a:srgbClr val="FFFFFF"/>
                </a:solidFill>
                <a:latin typeface="The Wave Sans TT" panose="00000500000000000000" pitchFamily="2" charset="0"/>
                <a:cs typeface="Calibri" panose="020F0502020204030204" pitchFamily="34" charset="0"/>
              </a:rPr>
              <a:t>0.1</a:t>
            </a:r>
            <a:r>
              <a:rPr lang="el-GR" sz="1050" b="1" spc="-20">
                <a:solidFill>
                  <a:srgbClr val="FFFFFF"/>
                </a:solidFill>
                <a:latin typeface="The Wave Sans TT" panose="00000500000000000000" pitchFamily="2" charset="0"/>
                <a:cs typeface="Calibri" panose="020F0502020204030204" pitchFamily="34" charset="0"/>
              </a:rPr>
              <a:t>5</a:t>
            </a:r>
            <a:endParaRPr lang="en-US" sz="1050" b="1" spc="-20">
              <a:solidFill>
                <a:srgbClr val="FFFFFF"/>
              </a:solidFill>
              <a:latin typeface="The Wave Sans TT" panose="00000500000000000000" pitchFamily="2" charset="0"/>
              <a:cs typeface="Calibri" panose="020F0502020204030204" pitchFamily="34" charset="0"/>
            </a:endParaRPr>
          </a:p>
          <a:p>
            <a:pPr marL="12700" algn="ctr">
              <a:lnSpc>
                <a:spcPct val="100000"/>
              </a:lnSpc>
              <a:spcBef>
                <a:spcPts val="105"/>
              </a:spcBef>
            </a:pPr>
            <a:r>
              <a:rPr lang="en-US" sz="1050" b="1" spc="-20">
                <a:solidFill>
                  <a:srgbClr val="FFFFFF"/>
                </a:solidFill>
                <a:latin typeface="The Wave Sans TT" panose="00000500000000000000" pitchFamily="2" charset="0"/>
                <a:cs typeface="Calibri" panose="020F0502020204030204" pitchFamily="34" charset="0"/>
              </a:rPr>
              <a:t>GW</a:t>
            </a:r>
            <a:endParaRPr lang="en-US" sz="1050">
              <a:latin typeface="The Wave Sans TT" panose="00000500000000000000" pitchFamily="2" charset="0"/>
              <a:cs typeface="Calibri" panose="020F0502020204030204" pitchFamily="34" charset="0"/>
            </a:endParaRPr>
          </a:p>
        </p:txBody>
      </p:sp>
      <p:grpSp>
        <p:nvGrpSpPr>
          <p:cNvPr id="58" name="object 43">
            <a:extLst>
              <a:ext uri="{FF2B5EF4-FFF2-40B4-BE49-F238E27FC236}">
                <a16:creationId xmlns:a16="http://schemas.microsoft.com/office/drawing/2014/main" id="{EF163437-CC27-B131-4D56-22B11B11C4AB}"/>
              </a:ext>
            </a:extLst>
          </p:cNvPr>
          <p:cNvGrpSpPr/>
          <p:nvPr/>
        </p:nvGrpSpPr>
        <p:grpSpPr>
          <a:xfrm>
            <a:off x="7920841" y="2877303"/>
            <a:ext cx="502284" cy="502284"/>
            <a:chOff x="8262756" y="5054737"/>
            <a:chExt cx="502284" cy="502284"/>
          </a:xfrm>
          <a:solidFill>
            <a:schemeClr val="accent6"/>
          </a:solidFill>
        </p:grpSpPr>
        <p:sp>
          <p:nvSpPr>
            <p:cNvPr id="62" name="object 44">
              <a:extLst>
                <a:ext uri="{FF2B5EF4-FFF2-40B4-BE49-F238E27FC236}">
                  <a16:creationId xmlns:a16="http://schemas.microsoft.com/office/drawing/2014/main" id="{9EEB6F3E-7632-93A5-3A35-E9E671D26F34}"/>
                </a:ext>
              </a:extLst>
            </p:cNvPr>
            <p:cNvSpPr/>
            <p:nvPr/>
          </p:nvSpPr>
          <p:spPr>
            <a:xfrm>
              <a:off x="8269106" y="5061087"/>
              <a:ext cx="489584" cy="489584"/>
            </a:xfrm>
            <a:custGeom>
              <a:avLst/>
              <a:gdLst/>
              <a:ahLst/>
              <a:cxnLst/>
              <a:rect l="l" t="t" r="r" b="b"/>
              <a:pathLst>
                <a:path w="489584" h="489585">
                  <a:moveTo>
                    <a:pt x="271492" y="0"/>
                  </a:moveTo>
                  <a:lnTo>
                    <a:pt x="217980" y="0"/>
                  </a:lnTo>
                  <a:lnTo>
                    <a:pt x="164481" y="6431"/>
                  </a:lnTo>
                  <a:lnTo>
                    <a:pt x="110987" y="19293"/>
                  </a:lnTo>
                  <a:lnTo>
                    <a:pt x="53615" y="53599"/>
                  </a:lnTo>
                  <a:lnTo>
                    <a:pt x="19293" y="110860"/>
                  </a:lnTo>
                  <a:lnTo>
                    <a:pt x="6431" y="164416"/>
                  </a:lnTo>
                  <a:lnTo>
                    <a:pt x="0" y="217953"/>
                  </a:lnTo>
                  <a:lnTo>
                    <a:pt x="0" y="271484"/>
                  </a:lnTo>
                  <a:lnTo>
                    <a:pt x="6431" y="325021"/>
                  </a:lnTo>
                  <a:lnTo>
                    <a:pt x="19293" y="378576"/>
                  </a:lnTo>
                  <a:lnTo>
                    <a:pt x="53615" y="435837"/>
                  </a:lnTo>
                  <a:lnTo>
                    <a:pt x="110987" y="470143"/>
                  </a:lnTo>
                  <a:lnTo>
                    <a:pt x="164481" y="483006"/>
                  </a:lnTo>
                  <a:lnTo>
                    <a:pt x="217980" y="489437"/>
                  </a:lnTo>
                  <a:lnTo>
                    <a:pt x="271492" y="489437"/>
                  </a:lnTo>
                  <a:lnTo>
                    <a:pt x="325022" y="483006"/>
                  </a:lnTo>
                  <a:lnTo>
                    <a:pt x="378576" y="470143"/>
                  </a:lnTo>
                  <a:lnTo>
                    <a:pt x="435837" y="435837"/>
                  </a:lnTo>
                  <a:lnTo>
                    <a:pt x="470143" y="378576"/>
                  </a:lnTo>
                  <a:lnTo>
                    <a:pt x="483006" y="325021"/>
                  </a:lnTo>
                  <a:lnTo>
                    <a:pt x="489437" y="271484"/>
                  </a:lnTo>
                  <a:lnTo>
                    <a:pt x="489437" y="217953"/>
                  </a:lnTo>
                  <a:lnTo>
                    <a:pt x="483006" y="164416"/>
                  </a:lnTo>
                  <a:lnTo>
                    <a:pt x="470143" y="110860"/>
                  </a:lnTo>
                  <a:lnTo>
                    <a:pt x="435837" y="53599"/>
                  </a:lnTo>
                  <a:lnTo>
                    <a:pt x="378576" y="19293"/>
                  </a:lnTo>
                  <a:lnTo>
                    <a:pt x="325022" y="6431"/>
                  </a:lnTo>
                  <a:lnTo>
                    <a:pt x="271492" y="0"/>
                  </a:lnTo>
                  <a:close/>
                </a:path>
              </a:pathLst>
            </a:custGeom>
            <a:grpFill/>
            <a:ln>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sp>
          <p:nvSpPr>
            <p:cNvPr id="66" name="object 45">
              <a:extLst>
                <a:ext uri="{FF2B5EF4-FFF2-40B4-BE49-F238E27FC236}">
                  <a16:creationId xmlns:a16="http://schemas.microsoft.com/office/drawing/2014/main" id="{4C1565C6-53C5-AD52-3D14-9054F622572B}"/>
                </a:ext>
              </a:extLst>
            </p:cNvPr>
            <p:cNvSpPr/>
            <p:nvPr/>
          </p:nvSpPr>
          <p:spPr>
            <a:xfrm>
              <a:off x="8269106" y="5061087"/>
              <a:ext cx="489584" cy="489584"/>
            </a:xfrm>
            <a:custGeom>
              <a:avLst/>
              <a:gdLst/>
              <a:ahLst/>
              <a:cxnLst/>
              <a:rect l="l" t="t" r="r" b="b"/>
              <a:pathLst>
                <a:path w="489584" h="489585">
                  <a:moveTo>
                    <a:pt x="378576" y="470143"/>
                  </a:moveTo>
                  <a:lnTo>
                    <a:pt x="325022" y="483006"/>
                  </a:lnTo>
                  <a:lnTo>
                    <a:pt x="271492" y="489437"/>
                  </a:lnTo>
                  <a:lnTo>
                    <a:pt x="217980" y="489437"/>
                  </a:lnTo>
                  <a:lnTo>
                    <a:pt x="164481" y="483006"/>
                  </a:lnTo>
                  <a:lnTo>
                    <a:pt x="110987" y="470143"/>
                  </a:lnTo>
                  <a:lnTo>
                    <a:pt x="53615" y="435837"/>
                  </a:lnTo>
                  <a:lnTo>
                    <a:pt x="19293" y="378576"/>
                  </a:lnTo>
                  <a:lnTo>
                    <a:pt x="6431" y="325021"/>
                  </a:lnTo>
                  <a:lnTo>
                    <a:pt x="0" y="271484"/>
                  </a:lnTo>
                  <a:lnTo>
                    <a:pt x="0" y="217953"/>
                  </a:lnTo>
                  <a:lnTo>
                    <a:pt x="6431" y="164416"/>
                  </a:lnTo>
                  <a:lnTo>
                    <a:pt x="19293" y="110860"/>
                  </a:lnTo>
                  <a:lnTo>
                    <a:pt x="53615" y="53599"/>
                  </a:lnTo>
                  <a:lnTo>
                    <a:pt x="110987" y="19293"/>
                  </a:lnTo>
                  <a:lnTo>
                    <a:pt x="164481" y="6431"/>
                  </a:lnTo>
                  <a:lnTo>
                    <a:pt x="217980" y="0"/>
                  </a:lnTo>
                  <a:lnTo>
                    <a:pt x="271492" y="0"/>
                  </a:lnTo>
                  <a:lnTo>
                    <a:pt x="325022" y="6431"/>
                  </a:lnTo>
                  <a:lnTo>
                    <a:pt x="378576" y="19293"/>
                  </a:lnTo>
                  <a:lnTo>
                    <a:pt x="435837" y="53599"/>
                  </a:lnTo>
                  <a:lnTo>
                    <a:pt x="470143" y="110860"/>
                  </a:lnTo>
                  <a:lnTo>
                    <a:pt x="483006" y="164416"/>
                  </a:lnTo>
                  <a:lnTo>
                    <a:pt x="489437" y="217953"/>
                  </a:lnTo>
                  <a:lnTo>
                    <a:pt x="489437" y="271484"/>
                  </a:lnTo>
                  <a:lnTo>
                    <a:pt x="483006" y="325021"/>
                  </a:lnTo>
                  <a:lnTo>
                    <a:pt x="470143" y="378576"/>
                  </a:lnTo>
                  <a:lnTo>
                    <a:pt x="435837" y="435837"/>
                  </a:lnTo>
                  <a:lnTo>
                    <a:pt x="378576" y="470143"/>
                  </a:lnTo>
                </a:path>
              </a:pathLst>
            </a:custGeom>
            <a:solidFill>
              <a:schemeClr val="accent2"/>
            </a:solidFill>
            <a:ln w="12700">
              <a:solidFill>
                <a:schemeClr val="bg1"/>
              </a:solidFill>
            </a:ln>
          </p:spPr>
          <p:txBody>
            <a:bodyPr wrap="square" lIns="0" tIns="0" rIns="0" bIns="0" rtlCol="0"/>
            <a:lstStyle/>
            <a:p>
              <a:endParaRPr lang="en-US" sz="1050">
                <a:latin typeface="The Wave Sans TT" panose="00000500000000000000" pitchFamily="2" charset="0"/>
                <a:cs typeface="Calibri" panose="020F0502020204030204" pitchFamily="34" charset="0"/>
              </a:endParaRPr>
            </a:p>
          </p:txBody>
        </p:sp>
      </p:grpSp>
      <p:sp>
        <p:nvSpPr>
          <p:cNvPr id="72" name="object 46">
            <a:extLst>
              <a:ext uri="{FF2B5EF4-FFF2-40B4-BE49-F238E27FC236}">
                <a16:creationId xmlns:a16="http://schemas.microsoft.com/office/drawing/2014/main" id="{55B4CFB1-9F08-D4A0-8244-EF422B08A014}"/>
              </a:ext>
            </a:extLst>
          </p:cNvPr>
          <p:cNvSpPr txBox="1"/>
          <p:nvPr/>
        </p:nvSpPr>
        <p:spPr>
          <a:xfrm>
            <a:off x="8480901" y="2980060"/>
            <a:ext cx="3276000" cy="335989"/>
          </a:xfrm>
          <a:prstGeom prst="rect">
            <a:avLst/>
          </a:prstGeom>
        </p:spPr>
        <p:txBody>
          <a:bodyPr vert="horz" wrap="square" lIns="0" tIns="12700" rIns="0" bIns="0" rtlCol="0">
            <a:spAutoFit/>
          </a:bodyPr>
          <a:lstStyle/>
          <a:p>
            <a:pPr marL="12700">
              <a:lnSpc>
                <a:spcPct val="100000"/>
              </a:lnSpc>
              <a:spcBef>
                <a:spcPts val="100"/>
              </a:spcBef>
            </a:pPr>
            <a:r>
              <a:rPr lang="en-US" sz="1050" spc="-15">
                <a:solidFill>
                  <a:schemeClr val="tx1"/>
                </a:solidFill>
                <a:latin typeface="The Wave Sans TT" panose="00000500000000000000" pitchFamily="2" charset="0"/>
                <a:cs typeface="Calibri" panose="020F0502020204030204" pitchFamily="34" charset="0"/>
              </a:rPr>
              <a:t>Diversified RES pipeline in Greece, Cyprus and Romania, of which </a:t>
            </a:r>
            <a:r>
              <a:rPr lang="en-US" sz="1050" spc="-15">
                <a:latin typeface="The Wave Sans TT" panose="00000500000000000000" pitchFamily="2" charset="0"/>
                <a:cs typeface="Calibri" panose="020F0502020204030204" pitchFamily="34" charset="0"/>
              </a:rPr>
              <a:t>0.5 GW in</a:t>
            </a:r>
            <a:r>
              <a:rPr lang="en-US" sz="1050" spc="-15">
                <a:solidFill>
                  <a:schemeClr val="tx1"/>
                </a:solidFill>
                <a:latin typeface="The Wave Sans TT" panose="00000500000000000000" pitchFamily="2" charset="0"/>
                <a:cs typeface="Calibri" panose="020F0502020204030204" pitchFamily="34" charset="0"/>
              </a:rPr>
              <a:t> advanced stage</a:t>
            </a:r>
            <a:endParaRPr lang="en-US" sz="1050">
              <a:solidFill>
                <a:schemeClr val="tx1"/>
              </a:solidFill>
              <a:latin typeface="The Wave Sans TT" panose="00000500000000000000" pitchFamily="2" charset="0"/>
              <a:cs typeface="Calibri" panose="020F0502020204030204" pitchFamily="34" charset="0"/>
            </a:endParaRPr>
          </a:p>
        </p:txBody>
      </p:sp>
      <p:sp>
        <p:nvSpPr>
          <p:cNvPr id="73" name="object 28">
            <a:extLst>
              <a:ext uri="{FF2B5EF4-FFF2-40B4-BE49-F238E27FC236}">
                <a16:creationId xmlns:a16="http://schemas.microsoft.com/office/drawing/2014/main" id="{A867165F-8AB2-4DB1-0CF9-02EA22537729}"/>
              </a:ext>
            </a:extLst>
          </p:cNvPr>
          <p:cNvSpPr txBox="1"/>
          <p:nvPr/>
        </p:nvSpPr>
        <p:spPr>
          <a:xfrm>
            <a:off x="7991317" y="2947934"/>
            <a:ext cx="340995" cy="349455"/>
          </a:xfrm>
          <a:prstGeom prst="rect">
            <a:avLst/>
          </a:prstGeom>
        </p:spPr>
        <p:txBody>
          <a:bodyPr vert="horz" wrap="square" lIns="0" tIns="13335" rIns="0" bIns="0" rtlCol="0">
            <a:spAutoFit/>
          </a:bodyPr>
          <a:lstStyle/>
          <a:p>
            <a:pPr marL="12700" algn="ctr">
              <a:lnSpc>
                <a:spcPct val="100000"/>
              </a:lnSpc>
              <a:spcBef>
                <a:spcPts val="105"/>
              </a:spcBef>
            </a:pPr>
            <a:r>
              <a:rPr lang="en-US" sz="1050" b="1" spc="-20">
                <a:solidFill>
                  <a:schemeClr val="bg1"/>
                </a:solidFill>
                <a:latin typeface="The Wave Sans TT" panose="00000500000000000000" pitchFamily="2" charset="0"/>
                <a:cs typeface="Calibri" panose="020F0502020204030204" pitchFamily="34" charset="0"/>
              </a:rPr>
              <a:t>5.2</a:t>
            </a:r>
          </a:p>
          <a:p>
            <a:pPr marL="12700" algn="ctr">
              <a:lnSpc>
                <a:spcPct val="100000"/>
              </a:lnSpc>
              <a:spcBef>
                <a:spcPts val="105"/>
              </a:spcBef>
            </a:pPr>
            <a:r>
              <a:rPr lang="en-US" sz="1050" b="1" spc="-20">
                <a:solidFill>
                  <a:schemeClr val="bg1"/>
                </a:solidFill>
                <a:latin typeface="The Wave Sans TT" panose="00000500000000000000" pitchFamily="2" charset="0"/>
                <a:cs typeface="Calibri" panose="020F0502020204030204" pitchFamily="34" charset="0"/>
              </a:rPr>
              <a:t>GW</a:t>
            </a:r>
            <a:endParaRPr lang="en-US" sz="1050">
              <a:solidFill>
                <a:schemeClr val="bg1"/>
              </a:solidFill>
              <a:latin typeface="The Wave Sans TT" panose="00000500000000000000" pitchFamily="2" charset="0"/>
              <a:cs typeface="Calibri" panose="020F0502020204030204" pitchFamily="34" charset="0"/>
            </a:endParaRPr>
          </a:p>
        </p:txBody>
      </p:sp>
      <p:sp>
        <p:nvSpPr>
          <p:cNvPr id="75" name="object 11">
            <a:extLst>
              <a:ext uri="{FF2B5EF4-FFF2-40B4-BE49-F238E27FC236}">
                <a16:creationId xmlns:a16="http://schemas.microsoft.com/office/drawing/2014/main" id="{D0B98071-89BD-77FD-5DCC-BB07EFF66C02}"/>
              </a:ext>
            </a:extLst>
          </p:cNvPr>
          <p:cNvSpPr>
            <a:spLocks/>
          </p:cNvSpPr>
          <p:nvPr/>
        </p:nvSpPr>
        <p:spPr>
          <a:xfrm>
            <a:off x="7670728" y="2732186"/>
            <a:ext cx="4121490" cy="45719"/>
          </a:xfrm>
          <a:custGeom>
            <a:avLst/>
            <a:gdLst/>
            <a:ahLst/>
            <a:cxnLst/>
            <a:rect l="l" t="t" r="r" b="b"/>
            <a:pathLst>
              <a:path w="7020559">
                <a:moveTo>
                  <a:pt x="0" y="0"/>
                </a:moveTo>
                <a:lnTo>
                  <a:pt x="7020052" y="0"/>
                </a:lnTo>
              </a:path>
            </a:pathLst>
          </a:custGeom>
          <a:ln w="19050">
            <a:solidFill>
              <a:srgbClr val="7E7E7E"/>
            </a:solidFill>
            <a:prstDash val="dot"/>
          </a:ln>
        </p:spPr>
        <p:txBody>
          <a:bodyPr wrap="square" lIns="0" tIns="0" rIns="0" bIns="0" rtlCol="0">
            <a:noAutofit/>
          </a:bodyPr>
          <a:lstStyle/>
          <a:p>
            <a:endParaRPr lang="en-US" sz="1600">
              <a:latin typeface="The Wave Sans TT" panose="00000500000000000000" pitchFamily="2" charset="0"/>
            </a:endParaRPr>
          </a:p>
        </p:txBody>
      </p:sp>
      <p:sp>
        <p:nvSpPr>
          <p:cNvPr id="76" name="object 11">
            <a:extLst>
              <a:ext uri="{FF2B5EF4-FFF2-40B4-BE49-F238E27FC236}">
                <a16:creationId xmlns:a16="http://schemas.microsoft.com/office/drawing/2014/main" id="{AEC86523-3B22-C4D4-987F-52081C518DAD}"/>
              </a:ext>
            </a:extLst>
          </p:cNvPr>
          <p:cNvSpPr>
            <a:spLocks/>
          </p:cNvSpPr>
          <p:nvPr/>
        </p:nvSpPr>
        <p:spPr>
          <a:xfrm>
            <a:off x="7703651" y="4696048"/>
            <a:ext cx="4166203" cy="46961"/>
          </a:xfrm>
          <a:custGeom>
            <a:avLst/>
            <a:gdLst/>
            <a:ahLst/>
            <a:cxnLst/>
            <a:rect l="l" t="t" r="r" b="b"/>
            <a:pathLst>
              <a:path w="7020559">
                <a:moveTo>
                  <a:pt x="0" y="0"/>
                </a:moveTo>
                <a:lnTo>
                  <a:pt x="7020052" y="0"/>
                </a:lnTo>
              </a:path>
            </a:pathLst>
          </a:custGeom>
          <a:ln w="19050">
            <a:solidFill>
              <a:srgbClr val="7E7E7E"/>
            </a:solidFill>
            <a:prstDash val="dot"/>
          </a:ln>
        </p:spPr>
        <p:txBody>
          <a:bodyPr wrap="square" lIns="0" tIns="0" rIns="0" bIns="0" rtlCol="0">
            <a:noAutofit/>
          </a:bodyPr>
          <a:lstStyle/>
          <a:p>
            <a:endParaRPr lang="en-US" sz="1600">
              <a:latin typeface="The Wave Sans TT" panose="00000500000000000000" pitchFamily="2" charset="0"/>
            </a:endParaRPr>
          </a:p>
        </p:txBody>
      </p:sp>
      <p:sp>
        <p:nvSpPr>
          <p:cNvPr id="2" name="TextBox 1">
            <a:extLst>
              <a:ext uri="{FF2B5EF4-FFF2-40B4-BE49-F238E27FC236}">
                <a16:creationId xmlns:a16="http://schemas.microsoft.com/office/drawing/2014/main" id="{6D66DC7D-6D63-4321-AFB3-8E2162CB9BF2}"/>
              </a:ext>
            </a:extLst>
          </p:cNvPr>
          <p:cNvSpPr txBox="1"/>
          <p:nvPr/>
        </p:nvSpPr>
        <p:spPr>
          <a:xfrm>
            <a:off x="848681" y="2003167"/>
            <a:ext cx="1109082" cy="184666"/>
          </a:xfrm>
          <a:prstGeom prst="rect">
            <a:avLst/>
          </a:prstGeom>
          <a:noFill/>
        </p:spPr>
        <p:txBody>
          <a:bodyPr wrap="square" lIns="0" tIns="0" rIns="0" bIns="0" rtlCol="0">
            <a:spAutoFit/>
          </a:bodyPr>
          <a:lstStyle/>
          <a:p>
            <a:pPr algn="ctr">
              <a:lnSpc>
                <a:spcPct val="100000"/>
              </a:lnSpc>
              <a:spcBef>
                <a:spcPts val="600"/>
              </a:spcBef>
              <a:buClr>
                <a:schemeClr val="accent1"/>
              </a:buClr>
            </a:pPr>
            <a:r>
              <a:rPr lang="en-US" sz="1200" b="1">
                <a:solidFill>
                  <a:schemeClr val="bg1"/>
                </a:solidFill>
              </a:rPr>
              <a:t>Why RES</a:t>
            </a:r>
          </a:p>
        </p:txBody>
      </p:sp>
      <p:sp>
        <p:nvSpPr>
          <p:cNvPr id="77" name="TextBox 76">
            <a:extLst>
              <a:ext uri="{FF2B5EF4-FFF2-40B4-BE49-F238E27FC236}">
                <a16:creationId xmlns:a16="http://schemas.microsoft.com/office/drawing/2014/main" id="{27A42948-48E0-469F-8B15-1C727C3FFB0D}"/>
              </a:ext>
            </a:extLst>
          </p:cNvPr>
          <p:cNvSpPr txBox="1"/>
          <p:nvPr/>
        </p:nvSpPr>
        <p:spPr>
          <a:xfrm>
            <a:off x="848681" y="3634034"/>
            <a:ext cx="1109082" cy="369332"/>
          </a:xfrm>
          <a:prstGeom prst="rect">
            <a:avLst/>
          </a:prstGeom>
          <a:noFill/>
        </p:spPr>
        <p:txBody>
          <a:bodyPr wrap="square" lIns="0" tIns="0" rIns="0" bIns="0" rtlCol="0">
            <a:spAutoFit/>
          </a:bodyPr>
          <a:lstStyle/>
          <a:p>
            <a:pPr algn="ctr">
              <a:lnSpc>
                <a:spcPct val="100000"/>
              </a:lnSpc>
              <a:spcBef>
                <a:spcPts val="600"/>
              </a:spcBef>
              <a:buClr>
                <a:schemeClr val="accent1"/>
              </a:buClr>
            </a:pPr>
            <a:r>
              <a:rPr lang="en-US" sz="1200" b="1">
                <a:solidFill>
                  <a:schemeClr val="bg1"/>
                </a:solidFill>
              </a:rPr>
              <a:t>Why HELLENiQ ENERGY</a:t>
            </a:r>
          </a:p>
        </p:txBody>
      </p:sp>
      <p:sp>
        <p:nvSpPr>
          <p:cNvPr id="78" name="TextBox 77">
            <a:extLst>
              <a:ext uri="{FF2B5EF4-FFF2-40B4-BE49-F238E27FC236}">
                <a16:creationId xmlns:a16="http://schemas.microsoft.com/office/drawing/2014/main" id="{C953D874-AF91-4F40-8B68-0E361265DF64}"/>
              </a:ext>
            </a:extLst>
          </p:cNvPr>
          <p:cNvSpPr txBox="1"/>
          <p:nvPr/>
        </p:nvSpPr>
        <p:spPr>
          <a:xfrm>
            <a:off x="848681" y="5589805"/>
            <a:ext cx="1109082" cy="184666"/>
          </a:xfrm>
          <a:prstGeom prst="rect">
            <a:avLst/>
          </a:prstGeom>
          <a:noFill/>
        </p:spPr>
        <p:txBody>
          <a:bodyPr wrap="square" lIns="0" tIns="0" rIns="0" bIns="0" rtlCol="0">
            <a:spAutoFit/>
          </a:bodyPr>
          <a:lstStyle/>
          <a:p>
            <a:pPr algn="ctr">
              <a:lnSpc>
                <a:spcPct val="100000"/>
              </a:lnSpc>
              <a:spcBef>
                <a:spcPts val="600"/>
              </a:spcBef>
              <a:buClr>
                <a:schemeClr val="accent1"/>
              </a:buClr>
            </a:pPr>
            <a:r>
              <a:rPr lang="en-US" sz="1200" b="1">
                <a:solidFill>
                  <a:schemeClr val="bg1"/>
                </a:solidFill>
              </a:rPr>
              <a:t>Strategy</a:t>
            </a:r>
          </a:p>
        </p:txBody>
      </p:sp>
      <p:sp>
        <p:nvSpPr>
          <p:cNvPr id="79" name="Title 5">
            <a:extLst>
              <a:ext uri="{FF2B5EF4-FFF2-40B4-BE49-F238E27FC236}">
                <a16:creationId xmlns:a16="http://schemas.microsoft.com/office/drawing/2014/main" id="{204FEBCE-3783-47FA-99ED-E8376F97D580}"/>
              </a:ext>
            </a:extLst>
          </p:cNvPr>
          <p:cNvSpPr>
            <a:spLocks noGrp="1"/>
          </p:cNvSpPr>
          <p:nvPr>
            <p:ph type="title"/>
          </p:nvPr>
        </p:nvSpPr>
        <p:spPr>
          <a:xfrm>
            <a:off x="442800" y="381600"/>
            <a:ext cx="11106632" cy="615553"/>
          </a:xfrm>
        </p:spPr>
        <p:txBody>
          <a:bodyPr vert="horz"/>
          <a:lstStyle/>
          <a:p>
            <a:pPr marL="172800"/>
            <a:r>
              <a:rPr lang="en-US">
                <a:latin typeface="The Wave Sans TT" panose="00000500000000000000" pitchFamily="2" charset="0"/>
              </a:rPr>
              <a:t>Growth</a:t>
            </a:r>
            <a:r>
              <a:rPr lang="en-US" spc="-55">
                <a:latin typeface="The Wave Sans TT" panose="00000500000000000000" pitchFamily="2" charset="0"/>
              </a:rPr>
              <a:t> </a:t>
            </a:r>
            <a:r>
              <a:rPr lang="en-US">
                <a:latin typeface="The Wave Sans TT" panose="00000500000000000000" pitchFamily="2" charset="0"/>
              </a:rPr>
              <a:t>in</a:t>
            </a:r>
            <a:r>
              <a:rPr lang="en-US" spc="-40">
                <a:latin typeface="The Wave Sans TT" panose="00000500000000000000" pitchFamily="2" charset="0"/>
              </a:rPr>
              <a:t> </a:t>
            </a:r>
            <a:r>
              <a:rPr lang="en-US">
                <a:latin typeface="The Wave Sans TT" panose="00000500000000000000" pitchFamily="2" charset="0"/>
              </a:rPr>
              <a:t>renewables,</a:t>
            </a:r>
            <a:r>
              <a:rPr lang="en-US" spc="-30">
                <a:latin typeface="The Wave Sans TT" panose="00000500000000000000" pitchFamily="2" charset="0"/>
              </a:rPr>
              <a:t> </a:t>
            </a:r>
            <a:r>
              <a:rPr lang="en-US">
                <a:latin typeface="The Wave Sans TT" panose="00000500000000000000" pitchFamily="2" charset="0"/>
              </a:rPr>
              <a:t>with</a:t>
            </a:r>
            <a:r>
              <a:rPr lang="en-US" spc="-50">
                <a:latin typeface="The Wave Sans TT" panose="00000500000000000000" pitchFamily="2" charset="0"/>
              </a:rPr>
              <a:t> </a:t>
            </a:r>
            <a:r>
              <a:rPr lang="en-US">
                <a:latin typeface="The Wave Sans TT" panose="00000500000000000000" pitchFamily="2" charset="0"/>
              </a:rPr>
              <a:t>a</a:t>
            </a:r>
            <a:r>
              <a:rPr lang="en-US" spc="-30">
                <a:latin typeface="The Wave Sans TT" panose="00000500000000000000" pitchFamily="2" charset="0"/>
              </a:rPr>
              <a:t> </a:t>
            </a:r>
            <a:r>
              <a:rPr lang="en-US">
                <a:latin typeface="The Wave Sans TT" panose="00000500000000000000" pitchFamily="2" charset="0"/>
              </a:rPr>
              <a:t>disciplined</a:t>
            </a:r>
            <a:r>
              <a:rPr lang="en-US" spc="-60">
                <a:latin typeface="The Wave Sans TT" panose="00000500000000000000" pitchFamily="2" charset="0"/>
              </a:rPr>
              <a:t> </a:t>
            </a:r>
            <a:r>
              <a:rPr lang="en-US" spc="-10">
                <a:latin typeface="The Wave Sans TT" panose="00000500000000000000" pitchFamily="2" charset="0"/>
              </a:rPr>
              <a:t>investment</a:t>
            </a:r>
            <a:r>
              <a:rPr lang="en-US" spc="-65">
                <a:latin typeface="The Wave Sans TT" panose="00000500000000000000" pitchFamily="2" charset="0"/>
              </a:rPr>
              <a:t> </a:t>
            </a:r>
            <a:r>
              <a:rPr lang="en-US" spc="-10">
                <a:latin typeface="The Wave Sans TT" panose="00000500000000000000" pitchFamily="2" charset="0"/>
              </a:rPr>
              <a:t>strategy</a:t>
            </a:r>
            <a:r>
              <a:rPr lang="en-US" spc="-30">
                <a:latin typeface="The Wave Sans TT" panose="00000500000000000000" pitchFamily="2" charset="0"/>
              </a:rPr>
              <a:t> </a:t>
            </a:r>
            <a:r>
              <a:rPr lang="en-US">
                <a:latin typeface="The Wave Sans TT" panose="00000500000000000000" pitchFamily="2" charset="0"/>
              </a:rPr>
              <a:t>to</a:t>
            </a:r>
            <a:r>
              <a:rPr lang="en-US" spc="-40">
                <a:latin typeface="The Wave Sans TT" panose="00000500000000000000" pitchFamily="2" charset="0"/>
              </a:rPr>
              <a:t> </a:t>
            </a:r>
            <a:r>
              <a:rPr lang="en-US">
                <a:latin typeface="The Wave Sans TT" panose="00000500000000000000" pitchFamily="2" charset="0"/>
              </a:rPr>
              <a:t>achieve</a:t>
            </a:r>
            <a:r>
              <a:rPr lang="en-US" spc="-35">
                <a:latin typeface="The Wave Sans TT" panose="00000500000000000000" pitchFamily="2" charset="0"/>
              </a:rPr>
              <a:t> </a:t>
            </a:r>
            <a:r>
              <a:rPr lang="en-US" spc="-10">
                <a:latin typeface="The Wave Sans TT" panose="00000500000000000000" pitchFamily="2" charset="0"/>
              </a:rPr>
              <a:t>attractive, low-</a:t>
            </a:r>
            <a:r>
              <a:rPr lang="en-US">
                <a:latin typeface="The Wave Sans TT" panose="00000500000000000000" pitchFamily="2" charset="0"/>
              </a:rPr>
              <a:t>risk</a:t>
            </a:r>
            <a:r>
              <a:rPr lang="en-US" spc="-5">
                <a:latin typeface="The Wave Sans TT" panose="00000500000000000000" pitchFamily="2" charset="0"/>
              </a:rPr>
              <a:t> </a:t>
            </a:r>
            <a:r>
              <a:rPr lang="en-US" spc="-10">
                <a:latin typeface="The Wave Sans TT" panose="00000500000000000000" pitchFamily="2" charset="0"/>
              </a:rPr>
              <a:t>returns</a:t>
            </a:r>
            <a:endParaRPr lang="en-US" sz="2000"/>
          </a:p>
        </p:txBody>
      </p:sp>
      <p:sp>
        <p:nvSpPr>
          <p:cNvPr id="80" name="Oval 79">
            <a:extLst>
              <a:ext uri="{FF2B5EF4-FFF2-40B4-BE49-F238E27FC236}">
                <a16:creationId xmlns:a16="http://schemas.microsoft.com/office/drawing/2014/main" id="{C46870A9-5368-4363-9D62-85E04A461A0B}"/>
              </a:ext>
            </a:extLst>
          </p:cNvPr>
          <p:cNvSpPr/>
          <p:nvPr/>
        </p:nvSpPr>
        <p:spPr>
          <a:xfrm>
            <a:off x="169200" y="356400"/>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600" b="1">
                <a:solidFill>
                  <a:schemeClr val="bg1"/>
                </a:solidFill>
              </a:rPr>
              <a:t>4</a:t>
            </a:r>
          </a:p>
        </p:txBody>
      </p:sp>
      <p:cxnSp>
        <p:nvCxnSpPr>
          <p:cNvPr id="22" name="Straight Connector 21">
            <a:extLst>
              <a:ext uri="{FF2B5EF4-FFF2-40B4-BE49-F238E27FC236}">
                <a16:creationId xmlns:a16="http://schemas.microsoft.com/office/drawing/2014/main" id="{322CABAA-ED8A-2826-BB92-0D3C9DDA33BC}"/>
              </a:ext>
            </a:extLst>
          </p:cNvPr>
          <p:cNvCxnSpPr>
            <a:cxnSpLocks/>
          </p:cNvCxnSpPr>
          <p:nvPr/>
        </p:nvCxnSpPr>
        <p:spPr>
          <a:xfrm>
            <a:off x="443372" y="1434892"/>
            <a:ext cx="6948772"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67F5FF9-2D84-CEAA-D1B6-5A7D4EF47BAC}"/>
              </a:ext>
            </a:extLst>
          </p:cNvPr>
          <p:cNvCxnSpPr>
            <a:cxnSpLocks/>
          </p:cNvCxnSpPr>
          <p:nvPr/>
        </p:nvCxnSpPr>
        <p:spPr>
          <a:xfrm>
            <a:off x="7668139" y="1434892"/>
            <a:ext cx="4167209"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924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think-cell data - do not delete" hidden="1">
            <a:extLst>
              <a:ext uri="{FF2B5EF4-FFF2-40B4-BE49-F238E27FC236}">
                <a16:creationId xmlns:a16="http://schemas.microsoft.com/office/drawing/2014/main" id="{4ED51192-3DA6-4348-B56D-1774136899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82" name="think-cell data - do not delete" hidden="1">
                        <a:extLst>
                          <a:ext uri="{FF2B5EF4-FFF2-40B4-BE49-F238E27FC236}">
                            <a16:creationId xmlns:a16="http://schemas.microsoft.com/office/drawing/2014/main" id="{4ED51192-3DA6-4348-B56D-1774136899C8}"/>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65" name="TextBox 64">
            <a:extLst>
              <a:ext uri="{FF2B5EF4-FFF2-40B4-BE49-F238E27FC236}">
                <a16:creationId xmlns:a16="http://schemas.microsoft.com/office/drawing/2014/main" id="{D1E8E513-5F10-0AF6-19B5-653289C71F0F}"/>
              </a:ext>
            </a:extLst>
          </p:cNvPr>
          <p:cNvSpPr txBox="1"/>
          <p:nvPr/>
        </p:nvSpPr>
        <p:spPr>
          <a:xfrm>
            <a:off x="581321" y="4291509"/>
            <a:ext cx="2331428" cy="1799652"/>
          </a:xfrm>
          <a:prstGeom prst="rect">
            <a:avLst/>
          </a:prstGeom>
          <a:solidFill>
            <a:schemeClr val="accent6">
              <a:lumMod val="20000"/>
              <a:lumOff val="80000"/>
            </a:schemeClr>
          </a:solidFill>
          <a:ln>
            <a:solidFill>
              <a:schemeClr val="accent6"/>
            </a:solidFill>
            <a:prstDash val="dash"/>
          </a:ln>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
                <a:srgbClr val="0032A0"/>
              </a:buClr>
              <a:buSzTx/>
              <a:buFontTx/>
              <a:buNone/>
              <a:tabLst/>
              <a:defRPr/>
            </a:pPr>
            <a:endParaRPr kumimoji="0" lang="en-US" sz="800" b="0" i="0" u="none" strike="noStrike" kern="1200" cap="none" spc="0" normalizeH="0" baseline="30000" noProof="0">
              <a:ln>
                <a:noFill/>
              </a:ln>
              <a:solidFill>
                <a:srgbClr val="0032A0"/>
              </a:solidFill>
              <a:effectLst/>
              <a:uLnTx/>
              <a:uFillTx/>
              <a:latin typeface="The Wave Sans TT"/>
              <a:ea typeface="+mn-ea"/>
              <a:cs typeface="+mn-cs"/>
            </a:endParaRPr>
          </a:p>
        </p:txBody>
      </p:sp>
      <p:graphicFrame>
        <p:nvGraphicFramePr>
          <p:cNvPr id="31" name="Chart 30">
            <a:extLst>
              <a:ext uri="{FF2B5EF4-FFF2-40B4-BE49-F238E27FC236}">
                <a16:creationId xmlns:a16="http://schemas.microsoft.com/office/drawing/2014/main" id="{FD7B53E3-4E66-B985-5C00-CE8D08CFE3AE}"/>
              </a:ext>
            </a:extLst>
          </p:cNvPr>
          <p:cNvGraphicFramePr/>
          <p:nvPr>
            <p:custDataLst>
              <p:tags r:id="rId3"/>
            </p:custDataLst>
          </p:nvPr>
        </p:nvGraphicFramePr>
        <p:xfrm>
          <a:off x="5818188" y="4179888"/>
          <a:ext cx="2062162" cy="1704975"/>
        </p:xfrm>
        <a:graphic>
          <a:graphicData uri="http://schemas.openxmlformats.org/drawingml/2006/chart">
            <c:chart xmlns:c="http://schemas.openxmlformats.org/drawingml/2006/chart" xmlns:r="http://schemas.openxmlformats.org/officeDocument/2006/relationships" r:id="rId61"/>
          </a:graphicData>
        </a:graphic>
      </p:graphicFrame>
      <p:sp>
        <p:nvSpPr>
          <p:cNvPr id="13" name="Text Placeholder 2">
            <a:extLst>
              <a:ext uri="{FF2B5EF4-FFF2-40B4-BE49-F238E27FC236}">
                <a16:creationId xmlns:a16="http://schemas.microsoft.com/office/drawing/2014/main" id="{DFABD2B5-E255-72D3-605E-7CBB15F574C6}"/>
              </a:ext>
            </a:extLst>
          </p:cNvPr>
          <p:cNvSpPr>
            <a:spLocks noGrp="1"/>
          </p:cNvSpPr>
          <p:nvPr>
            <p:custDataLst>
              <p:tags r:id="rId4"/>
            </p:custDataLst>
          </p:nvPr>
        </p:nvSpPr>
        <p:spPr bwMode="gray">
          <a:xfrm>
            <a:off x="7124700" y="4951413"/>
            <a:ext cx="285750" cy="136525"/>
          </a:xfrm>
          <a:prstGeom prst="rect">
            <a:avLst/>
          </a:prstGeom>
          <a:solidFill>
            <a:schemeClr val="accent3"/>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E1C9D7AF-11F4-46B1-9253-29EBBC85FADC}" type="datetime'''''''''''''''''''''''49''''''''%'">
              <a:rPr lang="en-US" altLang="en-US" sz="900" b="1" smtClean="0">
                <a:solidFill>
                  <a:srgbClr val="373737"/>
                </a:solidFill>
                <a:effectLst/>
              </a:rPr>
              <a:pPr lvl="1" algn="ctr">
                <a:spcBef>
                  <a:spcPct val="0"/>
                </a:spcBef>
                <a:spcAft>
                  <a:spcPct val="0"/>
                </a:spcAft>
              </a:pPr>
              <a:t>49%</a:t>
            </a:fld>
            <a:endParaRPr lang="en-US" sz="900" b="1" noProof="0">
              <a:solidFill>
                <a:srgbClr val="373737"/>
              </a:solidFill>
            </a:endParaRPr>
          </a:p>
        </p:txBody>
      </p:sp>
      <p:sp>
        <p:nvSpPr>
          <p:cNvPr id="10" name="Text Placeholder 2">
            <a:extLst>
              <a:ext uri="{FF2B5EF4-FFF2-40B4-BE49-F238E27FC236}">
                <a16:creationId xmlns:a16="http://schemas.microsoft.com/office/drawing/2014/main" id="{DFABD2B5-E255-72D3-605E-7CBB15F574C6}"/>
              </a:ext>
            </a:extLst>
          </p:cNvPr>
          <p:cNvSpPr>
            <a:spLocks noGrp="1"/>
          </p:cNvSpPr>
          <p:nvPr>
            <p:custDataLst>
              <p:tags r:id="rId5"/>
            </p:custDataLst>
          </p:nvPr>
        </p:nvSpPr>
        <p:spPr bwMode="gray">
          <a:xfrm>
            <a:off x="6326188" y="5116513"/>
            <a:ext cx="276225" cy="136525"/>
          </a:xfrm>
          <a:prstGeom prst="rect">
            <a:avLst/>
          </a:prstGeom>
          <a:solidFill>
            <a:schemeClr val="accent5"/>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3F8EED5E-740F-4B37-AEA0-78A14BA66616}" type="datetime'''''''''''''''''''2''''6%'''''''''''">
              <a:rPr lang="en-US" altLang="en-US" sz="900" b="1" smtClean="0">
                <a:solidFill>
                  <a:srgbClr val="373737"/>
                </a:solidFill>
                <a:effectLst/>
              </a:rPr>
              <a:pPr lvl="1" algn="ctr">
                <a:spcBef>
                  <a:spcPct val="0"/>
                </a:spcBef>
                <a:spcAft>
                  <a:spcPct val="0"/>
                </a:spcAft>
              </a:pPr>
              <a:t>26%</a:t>
            </a:fld>
            <a:endParaRPr lang="en-US" sz="900" b="1" noProof="0">
              <a:solidFill>
                <a:srgbClr val="373737"/>
              </a:solidFill>
            </a:endParaRPr>
          </a:p>
        </p:txBody>
      </p:sp>
      <p:sp>
        <p:nvSpPr>
          <p:cNvPr id="75" name="object 75"/>
          <p:cNvSpPr/>
          <p:nvPr/>
        </p:nvSpPr>
        <p:spPr>
          <a:xfrm>
            <a:off x="6275388" y="1655489"/>
            <a:ext cx="5509244" cy="258763"/>
          </a:xfrm>
          <a:custGeom>
            <a:avLst/>
            <a:gdLst/>
            <a:ahLst/>
            <a:cxnLst/>
            <a:rect l="l" t="t" r="r" b="b"/>
            <a:pathLst>
              <a:path w="3355975" h="259080">
                <a:moveTo>
                  <a:pt x="3335528" y="0"/>
                </a:moveTo>
                <a:lnTo>
                  <a:pt x="20320" y="0"/>
                </a:lnTo>
                <a:lnTo>
                  <a:pt x="12430" y="1603"/>
                </a:lnTo>
                <a:lnTo>
                  <a:pt x="5969" y="5969"/>
                </a:lnTo>
                <a:lnTo>
                  <a:pt x="1603" y="12430"/>
                </a:lnTo>
                <a:lnTo>
                  <a:pt x="0" y="20319"/>
                </a:lnTo>
                <a:lnTo>
                  <a:pt x="0" y="238759"/>
                </a:lnTo>
                <a:lnTo>
                  <a:pt x="1603" y="246649"/>
                </a:lnTo>
                <a:lnTo>
                  <a:pt x="5969" y="253110"/>
                </a:lnTo>
                <a:lnTo>
                  <a:pt x="12430" y="257476"/>
                </a:lnTo>
                <a:lnTo>
                  <a:pt x="20320" y="259079"/>
                </a:lnTo>
                <a:lnTo>
                  <a:pt x="3335528" y="259079"/>
                </a:lnTo>
                <a:lnTo>
                  <a:pt x="3343417" y="257476"/>
                </a:lnTo>
                <a:lnTo>
                  <a:pt x="3349879" y="253110"/>
                </a:lnTo>
                <a:lnTo>
                  <a:pt x="3354244" y="246649"/>
                </a:lnTo>
                <a:lnTo>
                  <a:pt x="3355848" y="238759"/>
                </a:lnTo>
                <a:lnTo>
                  <a:pt x="3355848" y="20319"/>
                </a:lnTo>
                <a:lnTo>
                  <a:pt x="3354244" y="12430"/>
                </a:lnTo>
                <a:lnTo>
                  <a:pt x="3349879" y="5968"/>
                </a:lnTo>
                <a:lnTo>
                  <a:pt x="3343417" y="1603"/>
                </a:lnTo>
                <a:lnTo>
                  <a:pt x="3335528" y="0"/>
                </a:lnTo>
                <a:close/>
              </a:path>
            </a:pathLst>
          </a:custGeom>
          <a:solidFill>
            <a:schemeClr val="accent3">
              <a:lumMod val="20000"/>
              <a:lumOff val="80000"/>
            </a:schemeClr>
          </a:solidFill>
        </p:spPr>
        <p:txBody>
          <a:bodyPr wrap="square" lIns="0" tIns="0" rIns="0" bIns="0" rtlCol="0" anchor="ctr" anchorCtr="0"/>
          <a:lstStyle/>
          <a:p>
            <a:pPr marL="171450" marR="0" lvl="0" indent="-171450" algn="ctr" defTabSz="91440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100" b="1" i="0" u="none" strike="noStrike" kern="1200" cap="none" spc="0" normalizeH="0" baseline="0" noProof="0">
                <a:ln>
                  <a:noFill/>
                </a:ln>
                <a:solidFill>
                  <a:srgbClr val="00319F"/>
                </a:solidFill>
                <a:effectLst/>
                <a:uLnTx/>
                <a:uFillTx/>
                <a:latin typeface="The Wave Sans TT (Body)"/>
                <a:cs typeface="Calibri"/>
              </a:rPr>
              <a:t>Young</a:t>
            </a:r>
            <a:r>
              <a:rPr kumimoji="0" lang="en-US" sz="1100" b="1" i="0" u="none" strike="noStrike" kern="1200" cap="none" spc="-35" normalizeH="0" baseline="0" noProof="0">
                <a:ln>
                  <a:noFill/>
                </a:ln>
                <a:solidFill>
                  <a:srgbClr val="00319F"/>
                </a:solidFill>
                <a:effectLst/>
                <a:uLnTx/>
                <a:uFillTx/>
                <a:latin typeface="The Wave Sans TT (Body)"/>
                <a:cs typeface="Calibri"/>
              </a:rPr>
              <a:t> </a:t>
            </a:r>
            <a:r>
              <a:rPr kumimoji="0" lang="en-US" sz="1100" b="1" i="0" u="none" strike="noStrike" kern="1200" cap="none" spc="0" normalizeH="0" baseline="0" noProof="0">
                <a:ln>
                  <a:noFill/>
                </a:ln>
                <a:solidFill>
                  <a:srgbClr val="00319F"/>
                </a:solidFill>
                <a:effectLst/>
                <a:uLnTx/>
                <a:uFillTx/>
                <a:latin typeface="The Wave Sans TT (Body)"/>
                <a:cs typeface="Calibri"/>
              </a:rPr>
              <a:t>asset</a:t>
            </a:r>
            <a:r>
              <a:rPr kumimoji="0" lang="en-US" sz="1100" b="1" i="0" u="none" strike="noStrike" kern="1200" cap="none" spc="-20" normalizeH="0" baseline="0" noProof="0">
                <a:ln>
                  <a:noFill/>
                </a:ln>
                <a:solidFill>
                  <a:srgbClr val="00319F"/>
                </a:solidFill>
                <a:effectLst/>
                <a:uLnTx/>
                <a:uFillTx/>
                <a:latin typeface="The Wave Sans TT (Body)"/>
                <a:cs typeface="Calibri"/>
              </a:rPr>
              <a:t> </a:t>
            </a:r>
            <a:r>
              <a:rPr kumimoji="0" lang="en-US" sz="1100" b="1" i="0" u="none" strike="noStrike" kern="1200" cap="none" spc="0" normalizeH="0" baseline="0" noProof="0">
                <a:ln>
                  <a:noFill/>
                </a:ln>
                <a:solidFill>
                  <a:srgbClr val="00319F"/>
                </a:solidFill>
                <a:effectLst/>
                <a:uLnTx/>
                <a:uFillTx/>
                <a:latin typeface="The Wave Sans TT (Body)"/>
                <a:cs typeface="Calibri"/>
              </a:rPr>
              <a:t>base</a:t>
            </a:r>
            <a:r>
              <a:rPr kumimoji="0" lang="en-US" sz="1100" b="1" i="0" u="none" strike="noStrike" kern="1200" cap="none" spc="-25" normalizeH="0" baseline="0" noProof="0">
                <a:ln>
                  <a:noFill/>
                </a:ln>
                <a:solidFill>
                  <a:srgbClr val="00319F"/>
                </a:solidFill>
                <a:effectLst/>
                <a:uLnTx/>
                <a:uFillTx/>
                <a:latin typeface="The Wave Sans TT (Body)"/>
                <a:cs typeface="Calibri"/>
              </a:rPr>
              <a:t> </a:t>
            </a:r>
            <a:r>
              <a:rPr kumimoji="0" lang="en-US" sz="1100" b="0" i="0" u="none" strike="noStrike" kern="1200" cap="none" spc="0" normalizeH="0" baseline="0" noProof="0">
                <a:ln>
                  <a:noFill/>
                </a:ln>
                <a:solidFill>
                  <a:srgbClr val="373737"/>
                </a:solidFill>
                <a:effectLst/>
                <a:uLnTx/>
                <a:uFillTx/>
                <a:latin typeface="The Wave Sans TT (Body)"/>
                <a:cs typeface="Calibri"/>
              </a:rPr>
              <a:t>(long</a:t>
            </a:r>
            <a:r>
              <a:rPr kumimoji="0" lang="en-US" sz="1100" b="0" i="0" u="none" strike="noStrike" kern="1200" cap="none" spc="-35" normalizeH="0" baseline="0" noProof="0">
                <a:ln>
                  <a:noFill/>
                </a:ln>
                <a:solidFill>
                  <a:srgbClr val="373737"/>
                </a:solidFill>
                <a:effectLst/>
                <a:uLnTx/>
                <a:uFillTx/>
                <a:latin typeface="The Wave Sans TT (Body)"/>
                <a:cs typeface="Calibri"/>
              </a:rPr>
              <a:t> </a:t>
            </a:r>
            <a:r>
              <a:rPr kumimoji="0" lang="en-US" sz="1100" b="0" i="0" u="none" strike="noStrike" kern="1200" cap="none" spc="0" normalizeH="0" baseline="0" noProof="0">
                <a:ln>
                  <a:noFill/>
                </a:ln>
                <a:solidFill>
                  <a:srgbClr val="373737"/>
                </a:solidFill>
                <a:effectLst/>
                <a:uLnTx/>
                <a:uFillTx/>
                <a:latin typeface="The Wave Sans TT (Body)"/>
                <a:cs typeface="Calibri"/>
              </a:rPr>
              <a:t>average</a:t>
            </a:r>
            <a:r>
              <a:rPr kumimoji="0" lang="en-US" sz="1100" b="0" i="0" u="none" strike="noStrike" kern="1200" cap="none" spc="-20" normalizeH="0" baseline="0" noProof="0">
                <a:ln>
                  <a:noFill/>
                </a:ln>
                <a:solidFill>
                  <a:srgbClr val="373737"/>
                </a:solidFill>
                <a:effectLst/>
                <a:uLnTx/>
                <a:uFillTx/>
                <a:latin typeface="The Wave Sans TT (Body)"/>
                <a:cs typeface="Calibri"/>
              </a:rPr>
              <a:t> </a:t>
            </a:r>
            <a:r>
              <a:rPr kumimoji="0" lang="en-US" sz="1100" b="0" i="0" u="none" strike="noStrike" kern="1200" cap="none" spc="0" normalizeH="0" baseline="0" noProof="0">
                <a:ln>
                  <a:noFill/>
                </a:ln>
                <a:solidFill>
                  <a:srgbClr val="373737"/>
                </a:solidFill>
                <a:effectLst/>
                <a:uLnTx/>
                <a:uFillTx/>
                <a:latin typeface="The Wave Sans TT (Body)"/>
                <a:cs typeface="Calibri"/>
              </a:rPr>
              <a:t>lifetime</a:t>
            </a:r>
            <a:r>
              <a:rPr kumimoji="0" lang="en-US" sz="1100" b="0" i="0" u="none" strike="noStrike" kern="1200" cap="none" spc="-40" normalizeH="0" baseline="0" noProof="0">
                <a:ln>
                  <a:noFill/>
                </a:ln>
                <a:solidFill>
                  <a:srgbClr val="373737"/>
                </a:solidFill>
                <a:effectLst/>
                <a:uLnTx/>
                <a:uFillTx/>
                <a:latin typeface="The Wave Sans TT (Body)"/>
                <a:cs typeface="Calibri"/>
              </a:rPr>
              <a:t> </a:t>
            </a:r>
            <a:r>
              <a:rPr kumimoji="0" lang="en-US" sz="1100" b="0" i="0" u="none" strike="noStrike" kern="1200" cap="none" spc="-10" normalizeH="0" baseline="0" noProof="0">
                <a:ln>
                  <a:noFill/>
                </a:ln>
                <a:solidFill>
                  <a:srgbClr val="373737"/>
                </a:solidFill>
                <a:effectLst/>
                <a:uLnTx/>
                <a:uFillTx/>
                <a:latin typeface="The Wave Sans TT (Body)"/>
                <a:cs typeface="Calibri"/>
              </a:rPr>
              <a:t>profile)</a:t>
            </a:r>
            <a:endParaRPr kumimoji="0" lang="en-US" sz="1100" b="0" i="0" u="none" strike="noStrike" kern="1200" cap="none" spc="0" normalizeH="0" baseline="0" noProof="0">
              <a:ln>
                <a:noFill/>
              </a:ln>
              <a:solidFill>
                <a:srgbClr val="373737"/>
              </a:solidFill>
              <a:effectLst/>
              <a:uLnTx/>
              <a:uFillTx/>
              <a:latin typeface="The Wave Sans TT (Body)"/>
            </a:endParaRPr>
          </a:p>
        </p:txBody>
      </p:sp>
      <p:sp>
        <p:nvSpPr>
          <p:cNvPr id="79" name="object 79"/>
          <p:cNvSpPr/>
          <p:nvPr/>
        </p:nvSpPr>
        <p:spPr>
          <a:xfrm>
            <a:off x="6616700" y="4929201"/>
            <a:ext cx="476250" cy="199114"/>
          </a:xfrm>
          <a:custGeom>
            <a:avLst/>
            <a:gdLst/>
            <a:ahLst/>
            <a:cxnLst/>
            <a:rect l="l" t="t" r="r" b="b"/>
            <a:pathLst>
              <a:path w="439420" h="320039">
                <a:moveTo>
                  <a:pt x="0" y="53339"/>
                </a:moveTo>
                <a:lnTo>
                  <a:pt x="4191" y="32575"/>
                </a:lnTo>
                <a:lnTo>
                  <a:pt x="15621" y="15620"/>
                </a:lnTo>
                <a:lnTo>
                  <a:pt x="32575" y="4190"/>
                </a:lnTo>
                <a:lnTo>
                  <a:pt x="53339" y="0"/>
                </a:lnTo>
                <a:lnTo>
                  <a:pt x="385572" y="0"/>
                </a:lnTo>
                <a:lnTo>
                  <a:pt x="406336" y="4190"/>
                </a:lnTo>
                <a:lnTo>
                  <a:pt x="423291" y="15620"/>
                </a:lnTo>
                <a:lnTo>
                  <a:pt x="434721" y="32575"/>
                </a:lnTo>
                <a:lnTo>
                  <a:pt x="438911" y="53339"/>
                </a:lnTo>
                <a:lnTo>
                  <a:pt x="438911" y="266699"/>
                </a:lnTo>
                <a:lnTo>
                  <a:pt x="434720" y="287464"/>
                </a:lnTo>
                <a:lnTo>
                  <a:pt x="423290" y="304418"/>
                </a:lnTo>
                <a:lnTo>
                  <a:pt x="406336" y="315848"/>
                </a:lnTo>
                <a:lnTo>
                  <a:pt x="385572" y="320039"/>
                </a:lnTo>
                <a:lnTo>
                  <a:pt x="53339" y="320039"/>
                </a:lnTo>
                <a:lnTo>
                  <a:pt x="32575" y="315848"/>
                </a:lnTo>
                <a:lnTo>
                  <a:pt x="15620" y="304418"/>
                </a:lnTo>
                <a:lnTo>
                  <a:pt x="4190" y="287464"/>
                </a:lnTo>
                <a:lnTo>
                  <a:pt x="0" y="266699"/>
                </a:lnTo>
                <a:lnTo>
                  <a:pt x="0" y="53339"/>
                </a:lnTo>
                <a:close/>
              </a:path>
            </a:pathLst>
          </a:custGeom>
          <a:solidFill>
            <a:schemeClr val="bg1"/>
          </a:solidFill>
          <a:ln w="12700">
            <a:solidFill>
              <a:schemeClr val="bg1"/>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32A0"/>
                </a:solidFill>
                <a:effectLst/>
                <a:uLnTx/>
                <a:uFillTx/>
                <a:latin typeface="The Wave Sans TT (Body)"/>
              </a:rPr>
              <a:t>5.1 GW</a:t>
            </a:r>
            <a:endParaRPr kumimoji="0" lang="en-US" sz="1800" b="1" i="0" u="none" strike="noStrike" kern="1200" cap="none" spc="0" normalizeH="0" baseline="0" noProof="0">
              <a:ln>
                <a:noFill/>
              </a:ln>
              <a:solidFill>
                <a:srgbClr val="0032A0"/>
              </a:solidFill>
              <a:effectLst/>
              <a:uLnTx/>
              <a:uFillTx/>
              <a:latin typeface="The Wave Sans TT (Body)"/>
            </a:endParaRPr>
          </a:p>
        </p:txBody>
      </p:sp>
      <p:sp>
        <p:nvSpPr>
          <p:cNvPr id="107" name="Pentagon 106">
            <a:extLst>
              <a:ext uri="{FF2B5EF4-FFF2-40B4-BE49-F238E27FC236}">
                <a16:creationId xmlns:a16="http://schemas.microsoft.com/office/drawing/2014/main" id="{44612C5A-AAF6-F1A2-2239-E9F3D1EBE6CE}"/>
              </a:ext>
            </a:extLst>
          </p:cNvPr>
          <p:cNvSpPr/>
          <p:nvPr/>
        </p:nvSpPr>
        <p:spPr>
          <a:xfrm>
            <a:off x="7891463" y="4438650"/>
            <a:ext cx="798513" cy="296863"/>
          </a:xfrm>
          <a:prstGeom prst="homePlate">
            <a:avLst/>
          </a:prstGeom>
          <a:solidFill>
            <a:srgbClr val="0E54F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The Wave Sans TT (Body)"/>
              </a:rPr>
              <a:t>13%</a:t>
            </a:r>
          </a:p>
        </p:txBody>
      </p:sp>
      <p:sp>
        <p:nvSpPr>
          <p:cNvPr id="108" name="Chevron 107">
            <a:extLst>
              <a:ext uri="{FF2B5EF4-FFF2-40B4-BE49-F238E27FC236}">
                <a16:creationId xmlns:a16="http://schemas.microsoft.com/office/drawing/2014/main" id="{98A97397-569C-702C-9907-8B6B234657F9}"/>
              </a:ext>
            </a:extLst>
          </p:cNvPr>
          <p:cNvSpPr>
            <a:spLocks/>
          </p:cNvSpPr>
          <p:nvPr/>
        </p:nvSpPr>
        <p:spPr>
          <a:xfrm>
            <a:off x="8545513" y="4438650"/>
            <a:ext cx="917575" cy="288925"/>
          </a:xfrm>
          <a:prstGeom prst="chevron">
            <a:avLst/>
          </a:prstGeom>
          <a:solidFill>
            <a:srgbClr val="C7B89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30%</a:t>
            </a:r>
          </a:p>
        </p:txBody>
      </p:sp>
      <p:sp>
        <p:nvSpPr>
          <p:cNvPr id="109" name="TextBox 108">
            <a:extLst>
              <a:ext uri="{FF2B5EF4-FFF2-40B4-BE49-F238E27FC236}">
                <a16:creationId xmlns:a16="http://schemas.microsoft.com/office/drawing/2014/main" id="{D564847F-9DF0-27AC-DB9F-807D61FC2512}"/>
              </a:ext>
            </a:extLst>
          </p:cNvPr>
          <p:cNvSpPr txBox="1"/>
          <p:nvPr/>
        </p:nvSpPr>
        <p:spPr>
          <a:xfrm>
            <a:off x="7891463" y="4756150"/>
            <a:ext cx="720725" cy="122238"/>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Early stage</a:t>
            </a:r>
          </a:p>
        </p:txBody>
      </p:sp>
      <p:sp>
        <p:nvSpPr>
          <p:cNvPr id="110" name="TextBox 109">
            <a:extLst>
              <a:ext uri="{FF2B5EF4-FFF2-40B4-BE49-F238E27FC236}">
                <a16:creationId xmlns:a16="http://schemas.microsoft.com/office/drawing/2014/main" id="{682F8B05-C20E-93B2-827A-79DF12D473F0}"/>
              </a:ext>
            </a:extLst>
          </p:cNvPr>
          <p:cNvSpPr txBox="1"/>
          <p:nvPr/>
        </p:nvSpPr>
        <p:spPr>
          <a:xfrm>
            <a:off x="8612188" y="4756150"/>
            <a:ext cx="720725" cy="614363"/>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Production license / environmental terms application</a:t>
            </a:r>
          </a:p>
        </p:txBody>
      </p:sp>
      <p:sp>
        <p:nvSpPr>
          <p:cNvPr id="111" name="Chevron 110">
            <a:extLst>
              <a:ext uri="{FF2B5EF4-FFF2-40B4-BE49-F238E27FC236}">
                <a16:creationId xmlns:a16="http://schemas.microsoft.com/office/drawing/2014/main" id="{B121DE17-D6A5-CC3B-E7E8-EF45D1524BB7}"/>
              </a:ext>
            </a:extLst>
          </p:cNvPr>
          <p:cNvSpPr>
            <a:spLocks/>
          </p:cNvSpPr>
          <p:nvPr/>
        </p:nvSpPr>
        <p:spPr>
          <a:xfrm>
            <a:off x="9318625" y="4438650"/>
            <a:ext cx="917575" cy="288925"/>
          </a:xfrm>
          <a:prstGeom prst="chevron">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a:solidFill>
                  <a:srgbClr val="373737"/>
                </a:solidFill>
                <a:latin typeface="The Wave Sans TT (Body)"/>
              </a:rPr>
              <a:t>45</a:t>
            </a:r>
            <a:r>
              <a:rPr kumimoji="0" lang="en-US" sz="800" b="1" i="0" u="none" strike="noStrike" kern="1200" cap="none" spc="0" normalizeH="0" baseline="0" noProof="0">
                <a:ln>
                  <a:noFill/>
                </a:ln>
                <a:solidFill>
                  <a:srgbClr val="373737"/>
                </a:solidFill>
                <a:effectLst/>
                <a:uLnTx/>
                <a:uFillTx/>
                <a:latin typeface="The Wave Sans TT (Body)"/>
              </a:rPr>
              <a:t>%</a:t>
            </a:r>
          </a:p>
        </p:txBody>
      </p:sp>
      <p:sp>
        <p:nvSpPr>
          <p:cNvPr id="112" name="TextBox 111">
            <a:extLst>
              <a:ext uri="{FF2B5EF4-FFF2-40B4-BE49-F238E27FC236}">
                <a16:creationId xmlns:a16="http://schemas.microsoft.com/office/drawing/2014/main" id="{6F161C2E-5769-2623-70CC-2B0F78242EBF}"/>
              </a:ext>
            </a:extLst>
          </p:cNvPr>
          <p:cNvSpPr txBox="1"/>
          <p:nvPr/>
        </p:nvSpPr>
        <p:spPr>
          <a:xfrm>
            <a:off x="9366250" y="4756150"/>
            <a:ext cx="720725" cy="492125"/>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Environmental permit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grid connection application</a:t>
            </a:r>
          </a:p>
        </p:txBody>
      </p:sp>
      <p:sp>
        <p:nvSpPr>
          <p:cNvPr id="113" name="Chevron 112">
            <a:extLst>
              <a:ext uri="{FF2B5EF4-FFF2-40B4-BE49-F238E27FC236}">
                <a16:creationId xmlns:a16="http://schemas.microsoft.com/office/drawing/2014/main" id="{7F320DDD-EE96-ED5A-0552-FDC737802D46}"/>
              </a:ext>
            </a:extLst>
          </p:cNvPr>
          <p:cNvSpPr>
            <a:spLocks/>
          </p:cNvSpPr>
          <p:nvPr/>
        </p:nvSpPr>
        <p:spPr>
          <a:xfrm>
            <a:off x="10091738" y="4438650"/>
            <a:ext cx="919163" cy="288925"/>
          </a:xfrm>
          <a:prstGeom prst="chevron">
            <a:avLst/>
          </a:prstGeom>
          <a:solidFill>
            <a:srgbClr val="7E7E7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800" b="1">
                <a:solidFill>
                  <a:prstClr val="white"/>
                </a:solidFill>
                <a:latin typeface="The Wave Sans TT (Body)"/>
              </a:rPr>
              <a:t>6</a:t>
            </a:r>
            <a:r>
              <a:rPr kumimoji="0" lang="en-US" sz="800" b="1" i="0" u="none" strike="noStrike" kern="1200" cap="none" spc="0" normalizeH="0" baseline="0" noProof="0">
                <a:ln>
                  <a:noFill/>
                </a:ln>
                <a:solidFill>
                  <a:prstClr val="white"/>
                </a:solidFill>
                <a:effectLst/>
                <a:uLnTx/>
                <a:uFillTx/>
                <a:latin typeface="The Wave Sans TT (Body)"/>
              </a:rPr>
              <a:t>%</a:t>
            </a:r>
          </a:p>
        </p:txBody>
      </p:sp>
      <p:sp>
        <p:nvSpPr>
          <p:cNvPr id="114" name="TextBox 113">
            <a:extLst>
              <a:ext uri="{FF2B5EF4-FFF2-40B4-BE49-F238E27FC236}">
                <a16:creationId xmlns:a16="http://schemas.microsoft.com/office/drawing/2014/main" id="{7D734655-62B5-1F97-F56C-9CCEA5815BE5}"/>
              </a:ext>
            </a:extLst>
          </p:cNvPr>
          <p:cNvSpPr txBox="1"/>
          <p:nvPr/>
        </p:nvSpPr>
        <p:spPr>
          <a:xfrm>
            <a:off x="10128250" y="4756150"/>
            <a:ext cx="720725" cy="246063"/>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Advanced stage / RTB</a:t>
            </a:r>
          </a:p>
        </p:txBody>
      </p:sp>
      <p:sp>
        <p:nvSpPr>
          <p:cNvPr id="115" name="Chevron 114">
            <a:extLst>
              <a:ext uri="{FF2B5EF4-FFF2-40B4-BE49-F238E27FC236}">
                <a16:creationId xmlns:a16="http://schemas.microsoft.com/office/drawing/2014/main" id="{696B6617-6805-DF9C-FAD6-152EE5199E2E}"/>
              </a:ext>
            </a:extLst>
          </p:cNvPr>
          <p:cNvSpPr>
            <a:spLocks/>
          </p:cNvSpPr>
          <p:nvPr/>
        </p:nvSpPr>
        <p:spPr>
          <a:xfrm>
            <a:off x="10866438" y="4438650"/>
            <a:ext cx="917575" cy="288925"/>
          </a:xfrm>
          <a:prstGeom prst="chevron">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eaLnBrk="1" fontAlgn="auto" latinLnBrk="0" hangingPunct="1">
              <a:lnSpc>
                <a:spcPct val="100000"/>
              </a:lnSpc>
              <a:spcBef>
                <a:spcPts val="0"/>
              </a:spcBef>
              <a:spcAft>
                <a:spcPts val="0"/>
              </a:spcAft>
              <a:buClr>
                <a:srgbClr val="373737"/>
              </a:buClr>
              <a:buSzTx/>
              <a:buFontTx/>
              <a:buNone/>
              <a:tabLst/>
              <a:defRPr/>
            </a:pPr>
            <a:r>
              <a:rPr kumimoji="0" lang="en-US" sz="800" b="1" i="0" u="none" strike="noStrike" kern="1200" cap="none" spc="0" normalizeH="0" baseline="0" noProof="0">
                <a:ln>
                  <a:noFill/>
                </a:ln>
                <a:solidFill>
                  <a:prstClr val="white"/>
                </a:solidFill>
                <a:effectLst/>
                <a:uLnTx/>
                <a:uFillTx/>
                <a:latin typeface="The Wave Sans TT (Body)"/>
              </a:rPr>
              <a:t>6%</a:t>
            </a:r>
          </a:p>
        </p:txBody>
      </p:sp>
      <p:sp>
        <p:nvSpPr>
          <p:cNvPr id="116" name="TextBox 115">
            <a:extLst>
              <a:ext uri="{FF2B5EF4-FFF2-40B4-BE49-F238E27FC236}">
                <a16:creationId xmlns:a16="http://schemas.microsoft.com/office/drawing/2014/main" id="{A1FF6F01-9FA9-D846-DA87-0E9C1697B452}"/>
              </a:ext>
            </a:extLst>
          </p:cNvPr>
          <p:cNvSpPr txBox="1"/>
          <p:nvPr/>
        </p:nvSpPr>
        <p:spPr>
          <a:xfrm>
            <a:off x="10888663" y="4756150"/>
            <a:ext cx="720725" cy="246063"/>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373737"/>
                </a:solidFill>
                <a:effectLst/>
                <a:uLnTx/>
                <a:uFillTx/>
                <a:latin typeface="The Wave Sans TT (Body)"/>
              </a:rPr>
              <a:t>Under construction</a:t>
            </a:r>
          </a:p>
        </p:txBody>
      </p:sp>
      <p:sp>
        <p:nvSpPr>
          <p:cNvPr id="123" name="object 73">
            <a:extLst>
              <a:ext uri="{FF2B5EF4-FFF2-40B4-BE49-F238E27FC236}">
                <a16:creationId xmlns:a16="http://schemas.microsoft.com/office/drawing/2014/main" id="{32377AC5-7E7F-7256-F06A-1CF8A3792002}"/>
              </a:ext>
            </a:extLst>
          </p:cNvPr>
          <p:cNvSpPr txBox="1"/>
          <p:nvPr/>
        </p:nvSpPr>
        <p:spPr>
          <a:xfrm>
            <a:off x="7886700" y="4077072"/>
            <a:ext cx="1306513" cy="166688"/>
          </a:xfrm>
          <a:prstGeom prst="rect">
            <a:avLst/>
          </a:prstGeom>
        </p:spPr>
        <p:txBody>
          <a:bodyPr vert="horz" wrap="square" lIns="0" tIns="12065" rIns="0" bIns="0" rtlCol="0">
            <a:spAutoFit/>
          </a:bodyPr>
          <a:lstStyle/>
          <a:p>
            <a:pPr marL="12700" marR="0" lvl="0" indent="0" algn="l" defTabSz="914400" eaLnBrk="1" fontAlgn="auto" latinLnBrk="0" hangingPunct="1">
              <a:lnSpc>
                <a:spcPct val="100000"/>
              </a:lnSpc>
              <a:spcBef>
                <a:spcPts val="95"/>
              </a:spcBef>
              <a:spcAft>
                <a:spcPts val="0"/>
              </a:spcAft>
              <a:buClrTx/>
              <a:buSzTx/>
              <a:buFontTx/>
              <a:buNone/>
              <a:tabLst/>
              <a:defRPr/>
            </a:pPr>
            <a:r>
              <a:rPr kumimoji="0" lang="en-US" sz="1000" b="1" i="0" u="none" strike="noStrike" kern="1200" cap="none" spc="-10" normalizeH="0" baseline="0" noProof="0">
                <a:ln>
                  <a:noFill/>
                </a:ln>
                <a:solidFill>
                  <a:srgbClr val="373737"/>
                </a:solidFill>
                <a:effectLst/>
                <a:uLnTx/>
                <a:uFillTx/>
                <a:latin typeface="The Wave Sans TT (Body)"/>
                <a:cs typeface="Calibri"/>
              </a:rPr>
              <a:t>Development stages</a:t>
            </a:r>
            <a:endParaRPr kumimoji="0" lang="en-US" sz="1000" b="1" i="0" u="none" strike="noStrike" kern="1200" cap="none" spc="0" normalizeH="0" baseline="0" noProof="0">
              <a:ln>
                <a:noFill/>
              </a:ln>
              <a:solidFill>
                <a:srgbClr val="373737"/>
              </a:solidFill>
              <a:effectLst/>
              <a:uLnTx/>
              <a:uFillTx/>
              <a:latin typeface="The Wave Sans TT (Body)"/>
              <a:cs typeface="Calibri"/>
            </a:endParaRPr>
          </a:p>
        </p:txBody>
      </p:sp>
      <p:cxnSp>
        <p:nvCxnSpPr>
          <p:cNvPr id="124" name="GreyLineSeparatorDefaultVertical 124">
            <a:extLst>
              <a:ext uri="{FF2B5EF4-FFF2-40B4-BE49-F238E27FC236}">
                <a16:creationId xmlns:a16="http://schemas.microsoft.com/office/drawing/2014/main" id="{91F182D0-6E05-9A43-58C3-34D8FAC6AE20}"/>
              </a:ext>
            </a:extLst>
          </p:cNvPr>
          <p:cNvCxnSpPr>
            <a:cxnSpLocks/>
          </p:cNvCxnSpPr>
          <p:nvPr>
            <p:custDataLst>
              <p:tags r:id="rId6"/>
            </p:custDataLst>
          </p:nvPr>
        </p:nvCxnSpPr>
        <p:spPr>
          <a:xfrm>
            <a:off x="8583613" y="4756150"/>
            <a:ext cx="0" cy="1000125"/>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7" name="GreyLineSeparatorDefaultVertical 124">
            <a:extLst>
              <a:ext uri="{FF2B5EF4-FFF2-40B4-BE49-F238E27FC236}">
                <a16:creationId xmlns:a16="http://schemas.microsoft.com/office/drawing/2014/main" id="{0C22272E-7B11-45A6-88EE-E1F392E6D5CB}"/>
              </a:ext>
            </a:extLst>
          </p:cNvPr>
          <p:cNvCxnSpPr>
            <a:cxnSpLocks/>
          </p:cNvCxnSpPr>
          <p:nvPr>
            <p:custDataLst>
              <p:tags r:id="rId7"/>
            </p:custDataLst>
          </p:nvPr>
        </p:nvCxnSpPr>
        <p:spPr>
          <a:xfrm>
            <a:off x="9345613" y="4756150"/>
            <a:ext cx="0" cy="1000125"/>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8" name="GreyLineSeparatorDefaultVertical 124">
            <a:extLst>
              <a:ext uri="{FF2B5EF4-FFF2-40B4-BE49-F238E27FC236}">
                <a16:creationId xmlns:a16="http://schemas.microsoft.com/office/drawing/2014/main" id="{4516F91A-C0FC-C185-4DF9-A55CAF8DF452}"/>
              </a:ext>
            </a:extLst>
          </p:cNvPr>
          <p:cNvCxnSpPr>
            <a:cxnSpLocks/>
          </p:cNvCxnSpPr>
          <p:nvPr>
            <p:custDataLst>
              <p:tags r:id="rId8"/>
            </p:custDataLst>
          </p:nvPr>
        </p:nvCxnSpPr>
        <p:spPr>
          <a:xfrm>
            <a:off x="10107613" y="4756150"/>
            <a:ext cx="0" cy="1000125"/>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9" name="GreyLineSeparatorDefaultVertical 124">
            <a:extLst>
              <a:ext uri="{FF2B5EF4-FFF2-40B4-BE49-F238E27FC236}">
                <a16:creationId xmlns:a16="http://schemas.microsoft.com/office/drawing/2014/main" id="{42499F63-864B-CD62-3940-5F5FDED2F571}"/>
              </a:ext>
            </a:extLst>
          </p:cNvPr>
          <p:cNvCxnSpPr>
            <a:cxnSpLocks/>
          </p:cNvCxnSpPr>
          <p:nvPr>
            <p:custDataLst>
              <p:tags r:id="rId9"/>
            </p:custDataLst>
          </p:nvPr>
        </p:nvCxnSpPr>
        <p:spPr>
          <a:xfrm>
            <a:off x="10869613" y="4756150"/>
            <a:ext cx="0" cy="1000125"/>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0" name="object 73">
            <a:extLst>
              <a:ext uri="{FF2B5EF4-FFF2-40B4-BE49-F238E27FC236}">
                <a16:creationId xmlns:a16="http://schemas.microsoft.com/office/drawing/2014/main" id="{5E55DB8B-D769-15C7-AC9A-2CC6C1EF44A7}"/>
              </a:ext>
            </a:extLst>
          </p:cNvPr>
          <p:cNvSpPr txBox="1"/>
          <p:nvPr/>
        </p:nvSpPr>
        <p:spPr>
          <a:xfrm>
            <a:off x="6265863" y="4077072"/>
            <a:ext cx="1306513" cy="166688"/>
          </a:xfrm>
          <a:prstGeom prst="rect">
            <a:avLst/>
          </a:prstGeom>
        </p:spPr>
        <p:txBody>
          <a:bodyPr vert="horz" wrap="square" lIns="0" tIns="12065" rIns="0" bIns="0" rtlCol="0">
            <a:spAutoFit/>
          </a:bodyPr>
          <a:lstStyle/>
          <a:p>
            <a:pPr marL="12700" marR="0" lvl="0" indent="0" algn="l" defTabSz="914400" eaLnBrk="1" fontAlgn="auto" latinLnBrk="0" hangingPunct="1">
              <a:lnSpc>
                <a:spcPct val="100000"/>
              </a:lnSpc>
              <a:spcBef>
                <a:spcPts val="95"/>
              </a:spcBef>
              <a:spcAft>
                <a:spcPts val="0"/>
              </a:spcAft>
              <a:buClrTx/>
              <a:buSzTx/>
              <a:buFontTx/>
              <a:buNone/>
              <a:tabLst/>
              <a:defRPr/>
            </a:pPr>
            <a:r>
              <a:rPr kumimoji="0" lang="en-US" sz="1000" b="1" i="0" u="none" strike="noStrike" kern="1200" cap="none" spc="-10" normalizeH="0" baseline="0" noProof="0">
                <a:ln>
                  <a:noFill/>
                </a:ln>
                <a:solidFill>
                  <a:srgbClr val="373737"/>
                </a:solidFill>
                <a:effectLst/>
                <a:uLnTx/>
                <a:uFillTx/>
                <a:latin typeface="The Wave Sans TT (Body)"/>
                <a:cs typeface="Calibri"/>
              </a:rPr>
              <a:t>Split by technology</a:t>
            </a:r>
            <a:endParaRPr kumimoji="0" lang="en-US" sz="1000" b="1" i="0" u="none" strike="noStrike" kern="1200" cap="none" spc="0" normalizeH="0" baseline="0" noProof="0">
              <a:ln>
                <a:noFill/>
              </a:ln>
              <a:solidFill>
                <a:srgbClr val="373737"/>
              </a:solidFill>
              <a:effectLst/>
              <a:uLnTx/>
              <a:uFillTx/>
              <a:latin typeface="The Wave Sans TT (Body)"/>
              <a:cs typeface="Calibri"/>
            </a:endParaRPr>
          </a:p>
        </p:txBody>
      </p:sp>
      <p:graphicFrame>
        <p:nvGraphicFramePr>
          <p:cNvPr id="78" name="Chart 77">
            <a:extLst>
              <a:ext uri="{FF2B5EF4-FFF2-40B4-BE49-F238E27FC236}">
                <a16:creationId xmlns:a16="http://schemas.microsoft.com/office/drawing/2014/main" id="{CAB9CCFF-DC1C-E5EC-A050-EABA39010001}"/>
              </a:ext>
            </a:extLst>
          </p:cNvPr>
          <p:cNvGraphicFramePr/>
          <p:nvPr>
            <p:custDataLst>
              <p:tags r:id="rId10"/>
            </p:custDataLst>
          </p:nvPr>
        </p:nvGraphicFramePr>
        <p:xfrm>
          <a:off x="9132888" y="1854200"/>
          <a:ext cx="2141537" cy="1725613"/>
        </p:xfrm>
        <a:graphic>
          <a:graphicData uri="http://schemas.openxmlformats.org/drawingml/2006/chart">
            <c:chart xmlns:c="http://schemas.openxmlformats.org/drawingml/2006/chart" xmlns:r="http://schemas.openxmlformats.org/officeDocument/2006/relationships" r:id="rId62"/>
          </a:graphicData>
        </a:graphic>
      </p:graphicFrame>
      <p:sp>
        <p:nvSpPr>
          <p:cNvPr id="126" name="Text Placeholder 2">
            <a:extLst>
              <a:ext uri="{FF2B5EF4-FFF2-40B4-BE49-F238E27FC236}">
                <a16:creationId xmlns:a16="http://schemas.microsoft.com/office/drawing/2014/main" id="{934FE779-18F8-4A4B-86AC-B0BCD41917A2}"/>
              </a:ext>
            </a:extLst>
          </p:cNvPr>
          <p:cNvSpPr>
            <a:spLocks noGrp="1"/>
          </p:cNvSpPr>
          <p:nvPr>
            <p:custDataLst>
              <p:tags r:id="rId11"/>
            </p:custDataLst>
          </p:nvPr>
        </p:nvSpPr>
        <p:spPr bwMode="auto">
          <a:xfrm>
            <a:off x="10814050" y="2473325"/>
            <a:ext cx="6413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06005222-2268-4CE0-B304-7181C60C4144}" type="datetime'F''''i''''P/''''''''''F''''''''''''''''''i''''''''T/C''''FD'">
              <a:rPr lang="en-US" altLang="en-US" sz="900" b="1" smtClean="0">
                <a:solidFill>
                  <a:srgbClr val="373737"/>
                </a:solidFill>
              </a:rPr>
              <a:pPr lvl="1">
                <a:spcBef>
                  <a:spcPct val="0"/>
                </a:spcBef>
                <a:spcAft>
                  <a:spcPct val="0"/>
                </a:spcAft>
                <a:defRPr/>
              </a:pPr>
              <a:t>FiP/FiT/CFD</a:t>
            </a:fld>
            <a:endParaRPr kumimoji="0" lang="en-US" sz="900" b="1" i="0" strike="noStrike" kern="1200" cap="none" spc="0" normalizeH="0" baseline="0" noProof="0">
              <a:ln>
                <a:noFill/>
              </a:ln>
              <a:solidFill>
                <a:srgbClr val="373737"/>
              </a:solidFill>
              <a:effectLst/>
              <a:uLnTx/>
              <a:uFillTx/>
            </a:endParaRPr>
          </a:p>
        </p:txBody>
      </p:sp>
      <p:sp>
        <p:nvSpPr>
          <p:cNvPr id="62" name="Text Placeholder 2">
            <a:extLst>
              <a:ext uri="{FF2B5EF4-FFF2-40B4-BE49-F238E27FC236}">
                <a16:creationId xmlns:a16="http://schemas.microsoft.com/office/drawing/2014/main" id="{DFABD2B5-E255-72D3-605E-7CBB15F574C6}"/>
              </a:ext>
            </a:extLst>
          </p:cNvPr>
          <p:cNvSpPr>
            <a:spLocks noGrp="1"/>
          </p:cNvSpPr>
          <p:nvPr>
            <p:custDataLst>
              <p:tags r:id="rId12"/>
            </p:custDataLst>
          </p:nvPr>
        </p:nvSpPr>
        <p:spPr bwMode="gray">
          <a:xfrm>
            <a:off x="9672638" y="2816225"/>
            <a:ext cx="279400" cy="136525"/>
          </a:xfrm>
          <a:prstGeom prst="rect">
            <a:avLst/>
          </a:prstGeom>
          <a:solidFill>
            <a:schemeClr val="accent6"/>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207B0E44-0E8F-4AED-ADED-9329571D9034}" type="datetime'''''''''''''''''''5''''''''4''''''''''%'''''''''">
              <a:rPr lang="en-US" altLang="en-US" sz="900" b="1" smtClean="0">
                <a:effectLst/>
              </a:rPr>
              <a:pPr lvl="1" algn="ctr">
                <a:spcBef>
                  <a:spcPct val="0"/>
                </a:spcBef>
                <a:spcAft>
                  <a:spcPct val="0"/>
                </a:spcAft>
              </a:pPr>
              <a:t>54%</a:t>
            </a:fld>
            <a:endParaRPr lang="en-US" sz="900" b="1" noProof="0"/>
          </a:p>
        </p:txBody>
      </p:sp>
      <p:sp>
        <p:nvSpPr>
          <p:cNvPr id="132" name="Text Placeholder 2">
            <a:extLst>
              <a:ext uri="{FF2B5EF4-FFF2-40B4-BE49-F238E27FC236}">
                <a16:creationId xmlns:a16="http://schemas.microsoft.com/office/drawing/2014/main" id="{FE01A470-37B9-4DEC-B72A-5F5582B64052}"/>
              </a:ext>
            </a:extLst>
          </p:cNvPr>
          <p:cNvSpPr>
            <a:spLocks noGrp="1"/>
          </p:cNvSpPr>
          <p:nvPr>
            <p:custDataLst>
              <p:tags r:id="rId13"/>
            </p:custDataLst>
          </p:nvPr>
        </p:nvSpPr>
        <p:spPr bwMode="auto">
          <a:xfrm>
            <a:off x="9334500" y="2922588"/>
            <a:ext cx="2778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fld id="{4CF4A422-7CC2-4536-85AD-5EFF18FC8EA3}" type="datetime'c''''''''''''''''''''''P''''''''''''''P''A'''''''''''''''">
              <a:rPr kumimoji="0" lang="en-US" altLang="en-US" sz="900" b="1" i="0" u="none" strike="noStrike" kern="1200" cap="none" spc="0" normalizeH="0" baseline="0" noProof="0" smtClean="0">
                <a:ln>
                  <a:noFill/>
                </a:ln>
                <a:solidFill>
                  <a:srgbClr val="373737"/>
                </a:solidFill>
                <a:effectLst/>
                <a:uLnTx/>
                <a:uFillTx/>
                <a:latin typeface="The Wave Sans TT"/>
                <a:ea typeface="+mn-ea"/>
                <a:cs typeface="+mn-cs"/>
              </a:rPr>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t>cPPA</a:t>
            </a:fld>
            <a:endParaRPr kumimoji="0" lang="en-US" sz="900" b="1" i="0" u="none" strike="noStrike" kern="1200" cap="none" spc="0" normalizeH="0" baseline="0" noProof="0">
              <a:ln>
                <a:noFill/>
              </a:ln>
              <a:solidFill>
                <a:srgbClr val="373737"/>
              </a:solidFill>
              <a:effectLst/>
              <a:uLnTx/>
              <a:uFillTx/>
              <a:latin typeface="The Wave Sans TT"/>
              <a:ea typeface="+mn-ea"/>
              <a:cs typeface="+mn-cs"/>
            </a:endParaRPr>
          </a:p>
        </p:txBody>
      </p:sp>
      <p:sp>
        <p:nvSpPr>
          <p:cNvPr id="35" name="Text Placeholder 2">
            <a:extLst>
              <a:ext uri="{FF2B5EF4-FFF2-40B4-BE49-F238E27FC236}">
                <a16:creationId xmlns:a16="http://schemas.microsoft.com/office/drawing/2014/main" id="{DFABD2B5-E255-72D3-605E-7CBB15F574C6}"/>
              </a:ext>
            </a:extLst>
          </p:cNvPr>
          <p:cNvSpPr>
            <a:spLocks noGrp="1"/>
          </p:cNvSpPr>
          <p:nvPr>
            <p:custDataLst>
              <p:tags r:id="rId14"/>
            </p:custDataLst>
          </p:nvPr>
        </p:nvSpPr>
        <p:spPr bwMode="gray">
          <a:xfrm>
            <a:off x="10026650" y="2174875"/>
            <a:ext cx="204788" cy="136525"/>
          </a:xfrm>
          <a:prstGeom prst="rect">
            <a:avLst/>
          </a:prstGeom>
          <a:solidFill>
            <a:schemeClr val="bg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DF3C0C58-9CE7-41FE-947D-B869FBC26533}" type="datetime'''''''''''5''''%'''''''''''">
              <a:rPr lang="en-US" altLang="en-US" sz="900" b="1" smtClean="0">
                <a:effectLst/>
              </a:rPr>
              <a:pPr lvl="1" algn="ctr">
                <a:spcBef>
                  <a:spcPct val="0"/>
                </a:spcBef>
                <a:spcAft>
                  <a:spcPct val="0"/>
                </a:spcAft>
              </a:pPr>
              <a:t>5%</a:t>
            </a:fld>
            <a:endParaRPr lang="en-US" sz="900" b="1" noProof="0"/>
          </a:p>
        </p:txBody>
      </p:sp>
      <p:sp>
        <p:nvSpPr>
          <p:cNvPr id="133" name="Text Placeholder 2">
            <a:extLst>
              <a:ext uri="{FF2B5EF4-FFF2-40B4-BE49-F238E27FC236}">
                <a16:creationId xmlns:a16="http://schemas.microsoft.com/office/drawing/2014/main" id="{C4770D08-C4CC-4C73-AEBD-8F9B56BD2DE9}"/>
              </a:ext>
            </a:extLst>
          </p:cNvPr>
          <p:cNvSpPr>
            <a:spLocks noGrp="1"/>
          </p:cNvSpPr>
          <p:nvPr>
            <p:custDataLst>
              <p:tags r:id="rId15"/>
            </p:custDataLst>
          </p:nvPr>
        </p:nvSpPr>
        <p:spPr bwMode="auto">
          <a:xfrm>
            <a:off x="9669463" y="1979613"/>
            <a:ext cx="4984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fld id="{9E005B7A-50E4-4A1F-B3D8-D157D711BF49}" type="datetime'Me''''''''''''''rch''''''''''''ant'''''''''''''''''">
              <a:rPr kumimoji="0" lang="en-US" altLang="en-US" sz="900" b="1" i="0" u="none" strike="noStrike" kern="1200" cap="none" spc="0" normalizeH="0" baseline="0" noProof="0" smtClean="0">
                <a:ln>
                  <a:noFill/>
                </a:ln>
                <a:solidFill>
                  <a:srgbClr val="373737"/>
                </a:solidFill>
                <a:effectLst/>
                <a:uLnTx/>
                <a:uFillTx/>
                <a:latin typeface="The Wave Sans TT"/>
                <a:ea typeface="+mn-ea"/>
                <a:cs typeface="+mn-cs"/>
              </a:rPr>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t>Merchant</a:t>
            </a:fld>
            <a:endParaRPr kumimoji="0" lang="en-US" sz="900" b="1" i="0" u="none" strike="noStrike" kern="1200" cap="none" spc="0" normalizeH="0" baseline="0" noProof="0">
              <a:ln>
                <a:noFill/>
              </a:ln>
              <a:solidFill>
                <a:srgbClr val="373737"/>
              </a:solidFill>
              <a:effectLst/>
              <a:uLnTx/>
              <a:uFillTx/>
              <a:latin typeface="The Wave Sans TT"/>
              <a:ea typeface="+mn-ea"/>
              <a:cs typeface="+mn-cs"/>
            </a:endParaRPr>
          </a:p>
        </p:txBody>
      </p:sp>
      <p:graphicFrame>
        <p:nvGraphicFramePr>
          <p:cNvPr id="26" name="Chart 25">
            <a:extLst>
              <a:ext uri="{FF2B5EF4-FFF2-40B4-BE49-F238E27FC236}">
                <a16:creationId xmlns:a16="http://schemas.microsoft.com/office/drawing/2014/main" id="{E41C0460-739D-3AE5-A590-A7DAF2B67E43}"/>
              </a:ext>
            </a:extLst>
          </p:cNvPr>
          <p:cNvGraphicFramePr/>
          <p:nvPr>
            <p:custDataLst>
              <p:tags r:id="rId16"/>
            </p:custDataLst>
          </p:nvPr>
        </p:nvGraphicFramePr>
        <p:xfrm>
          <a:off x="6902450" y="1865313"/>
          <a:ext cx="2141538" cy="1704975"/>
        </p:xfrm>
        <a:graphic>
          <a:graphicData uri="http://schemas.openxmlformats.org/drawingml/2006/chart">
            <c:chart xmlns:c="http://schemas.openxmlformats.org/drawingml/2006/chart" xmlns:r="http://schemas.openxmlformats.org/officeDocument/2006/relationships" r:id="rId63"/>
          </a:graphicData>
        </a:graphic>
      </p:graphicFrame>
      <p:sp>
        <p:nvSpPr>
          <p:cNvPr id="15" name="Text Placeholder 2">
            <a:extLst>
              <a:ext uri="{FF2B5EF4-FFF2-40B4-BE49-F238E27FC236}">
                <a16:creationId xmlns:a16="http://schemas.microsoft.com/office/drawing/2014/main" id="{DFABD2B5-E255-72D3-605E-7CBB15F574C6}"/>
              </a:ext>
            </a:extLst>
          </p:cNvPr>
          <p:cNvSpPr>
            <a:spLocks noGrp="1"/>
          </p:cNvSpPr>
          <p:nvPr>
            <p:custDataLst>
              <p:tags r:id="rId17"/>
            </p:custDataLst>
          </p:nvPr>
        </p:nvSpPr>
        <p:spPr bwMode="gray">
          <a:xfrm>
            <a:off x="8120063" y="2954338"/>
            <a:ext cx="276225" cy="136525"/>
          </a:xfrm>
          <a:prstGeom prst="rect">
            <a:avLst/>
          </a:prstGeom>
          <a:solidFill>
            <a:schemeClr val="accent2"/>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9E22238A-5BC5-44EC-BCFA-E8386F6A4DC6}" type="datetime'''''7''''6''''''''''''''''%'''''''''''''''''''''''''''">
              <a:rPr lang="en-US" altLang="en-US" sz="900" b="1" smtClean="0">
                <a:solidFill>
                  <a:srgbClr val="FFFFFF"/>
                </a:solidFill>
                <a:effectLst/>
              </a:rPr>
              <a:pPr lvl="1" algn="ctr">
                <a:spcBef>
                  <a:spcPct val="0"/>
                </a:spcBef>
                <a:spcAft>
                  <a:spcPct val="0"/>
                </a:spcAft>
              </a:pPr>
              <a:t>76%</a:t>
            </a:fld>
            <a:endParaRPr lang="en-US" sz="900" b="1" noProof="0">
              <a:solidFill>
                <a:srgbClr val="FFFFFF"/>
              </a:solidFill>
            </a:endParaRPr>
          </a:p>
        </p:txBody>
      </p:sp>
      <p:sp>
        <p:nvSpPr>
          <p:cNvPr id="158" name="Text Placeholder 2">
            <a:extLst>
              <a:ext uri="{FF2B5EF4-FFF2-40B4-BE49-F238E27FC236}">
                <a16:creationId xmlns:a16="http://schemas.microsoft.com/office/drawing/2014/main" id="{DFABD2B5-E255-72D3-605E-7CBB15F574C6}"/>
              </a:ext>
            </a:extLst>
          </p:cNvPr>
          <p:cNvSpPr>
            <a:spLocks noGrp="1"/>
          </p:cNvSpPr>
          <p:nvPr>
            <p:custDataLst>
              <p:tags r:id="rId18"/>
            </p:custDataLst>
          </p:nvPr>
        </p:nvSpPr>
        <p:spPr bwMode="auto">
          <a:xfrm>
            <a:off x="8385175" y="3149600"/>
            <a:ext cx="3556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eaLnBrk="1" fontAlgn="auto" latinLnBrk="0" hangingPunct="1">
              <a:lnSpc>
                <a:spcPct val="100000"/>
              </a:lnSpc>
              <a:spcBef>
                <a:spcPct val="0"/>
              </a:spcBef>
              <a:spcAft>
                <a:spcPct val="0"/>
              </a:spcAft>
              <a:buClrTx/>
              <a:buSzTx/>
              <a:buFont typeface="Arial" panose="020B0604020202020204" pitchFamily="34" charset="0"/>
              <a:buNone/>
              <a:tabLst/>
              <a:defRPr/>
            </a:pPr>
            <a:fld id="{AF8EF2C7-2764-44DB-9BDE-EFF02BB1B7EA}" type="datetime'''''G''''''''''''''''''''r''''''''''eece'''''''''">
              <a:rPr kumimoji="0" lang="en-US" altLang="en-US" sz="900" b="1" i="0" u="none" strike="noStrike" kern="1200" cap="none" spc="0" normalizeH="0" baseline="0" noProof="0" smtClean="0">
                <a:ln>
                  <a:noFill/>
                </a:ln>
                <a:solidFill>
                  <a:srgbClr val="373737"/>
                </a:solidFill>
                <a:effectLst/>
                <a:uLnTx/>
                <a:uFillTx/>
                <a:latin typeface="The Wave Sans TT"/>
                <a:ea typeface="+mn-ea"/>
                <a:cs typeface="+mn-cs"/>
              </a:rPr>
              <a:pPr marL="0" marR="0" lvl="1" indent="0" algn="l" defTabSz="914400" eaLnBrk="1" fontAlgn="auto" latinLnBrk="0" hangingPunct="1">
                <a:lnSpc>
                  <a:spcPct val="100000"/>
                </a:lnSpc>
                <a:spcBef>
                  <a:spcPct val="0"/>
                </a:spcBef>
                <a:spcAft>
                  <a:spcPct val="0"/>
                </a:spcAft>
                <a:buClrTx/>
                <a:buSzTx/>
                <a:buFont typeface="Arial" panose="020B0604020202020204" pitchFamily="34" charset="0"/>
                <a:buNone/>
                <a:tabLst/>
                <a:defRPr/>
              </a:pPr>
              <a:t>Greece</a:t>
            </a:fld>
            <a:endParaRPr kumimoji="0" lang="en-US" sz="900" b="1" i="0" u="none" strike="noStrike" kern="1200" cap="none" spc="0" normalizeH="0" baseline="0" noProof="0">
              <a:ln>
                <a:noFill/>
              </a:ln>
              <a:solidFill>
                <a:srgbClr val="373737"/>
              </a:solidFill>
              <a:effectLst/>
              <a:uLnTx/>
              <a:uFillTx/>
              <a:latin typeface="The Wave Sans TT"/>
              <a:ea typeface="+mn-ea"/>
              <a:cs typeface="+mn-cs"/>
            </a:endParaRPr>
          </a:p>
        </p:txBody>
      </p:sp>
      <p:sp>
        <p:nvSpPr>
          <p:cNvPr id="16" name="Text Placeholder 2">
            <a:extLst>
              <a:ext uri="{FF2B5EF4-FFF2-40B4-BE49-F238E27FC236}">
                <a16:creationId xmlns:a16="http://schemas.microsoft.com/office/drawing/2014/main" id="{DFABD2B5-E255-72D3-605E-7CBB15F574C6}"/>
              </a:ext>
            </a:extLst>
          </p:cNvPr>
          <p:cNvSpPr>
            <a:spLocks noGrp="1"/>
          </p:cNvSpPr>
          <p:nvPr>
            <p:custDataLst>
              <p:tags r:id="rId19"/>
            </p:custDataLst>
          </p:nvPr>
        </p:nvSpPr>
        <p:spPr bwMode="gray">
          <a:xfrm>
            <a:off x="7424738" y="2565400"/>
            <a:ext cx="214313" cy="136525"/>
          </a:xfrm>
          <a:prstGeom prst="rect">
            <a:avLst/>
          </a:prstGeom>
          <a:solidFill>
            <a:schemeClr val="accent5"/>
          </a:solidFill>
          <a:ln>
            <a:noFill/>
          </a:ln>
          <a:effectLst/>
        </p:spPr>
        <p:txBody>
          <a:bodyPr vert="horz" wrap="none" lIns="15875" tIns="0" rIns="15875"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6435D19A-6F27-450F-82C2-280368895360}" type="datetime'''4''''''''''''''''''''''''''''%'''''''''''''''''''''''''''''">
              <a:rPr lang="en-US" altLang="en-US" sz="900" b="1" smtClean="0">
                <a:solidFill>
                  <a:srgbClr val="373737"/>
                </a:solidFill>
              </a:rPr>
              <a:pPr lvl="1" algn="ctr">
                <a:spcBef>
                  <a:spcPct val="0"/>
                </a:spcBef>
                <a:spcAft>
                  <a:spcPct val="0"/>
                </a:spcAft>
              </a:pPr>
              <a:t>4%</a:t>
            </a:fld>
            <a:endParaRPr lang="en-US" sz="900" b="1" noProof="0">
              <a:solidFill>
                <a:srgbClr val="373737"/>
              </a:solidFill>
            </a:endParaRPr>
          </a:p>
        </p:txBody>
      </p:sp>
      <p:sp>
        <p:nvSpPr>
          <p:cNvPr id="159" name="Text Placeholder 2">
            <a:extLst>
              <a:ext uri="{FF2B5EF4-FFF2-40B4-BE49-F238E27FC236}">
                <a16:creationId xmlns:a16="http://schemas.microsoft.com/office/drawing/2014/main" id="{DFABD2B5-E255-72D3-605E-7CBB15F574C6}"/>
              </a:ext>
            </a:extLst>
          </p:cNvPr>
          <p:cNvSpPr>
            <a:spLocks noGrp="1"/>
          </p:cNvSpPr>
          <p:nvPr>
            <p:custDataLst>
              <p:tags r:id="rId20"/>
            </p:custDataLst>
          </p:nvPr>
        </p:nvSpPr>
        <p:spPr bwMode="auto">
          <a:xfrm>
            <a:off x="7004050" y="2524125"/>
            <a:ext cx="3587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fld id="{9058C824-DF1E-439B-B5E2-C71F672EBE0A}" type="datetime'''''''''''''C''''y''p''''''r''''u''s'''''''''''''''''''''''''">
              <a:rPr kumimoji="0" lang="en-US" altLang="en-US" sz="900" b="1" i="0" u="none" strike="noStrike" kern="1200" cap="none" spc="0" normalizeH="0" baseline="0" noProof="0" smtClean="0">
                <a:ln>
                  <a:noFill/>
                </a:ln>
                <a:solidFill>
                  <a:srgbClr val="373737"/>
                </a:solidFill>
                <a:effectLst/>
                <a:uLnTx/>
                <a:uFillTx/>
                <a:latin typeface="The Wave Sans TT"/>
                <a:ea typeface="+mn-ea"/>
                <a:cs typeface="+mn-cs"/>
              </a:rPr>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t>Cyprus</a:t>
            </a:fld>
            <a:endParaRPr kumimoji="0" lang="en-US" sz="900" b="1" i="0" u="none" strike="noStrike" kern="1200" cap="none" spc="0" normalizeH="0" baseline="0" noProof="0">
              <a:ln>
                <a:noFill/>
              </a:ln>
              <a:solidFill>
                <a:srgbClr val="373737"/>
              </a:solidFill>
              <a:effectLst/>
              <a:uLnTx/>
              <a:uFillTx/>
              <a:latin typeface="The Wave Sans TT"/>
              <a:ea typeface="+mn-ea"/>
              <a:cs typeface="+mn-cs"/>
            </a:endParaRPr>
          </a:p>
        </p:txBody>
      </p:sp>
      <p:sp>
        <p:nvSpPr>
          <p:cNvPr id="160" name="Text Placeholder 2">
            <a:extLst>
              <a:ext uri="{FF2B5EF4-FFF2-40B4-BE49-F238E27FC236}">
                <a16:creationId xmlns:a16="http://schemas.microsoft.com/office/drawing/2014/main" id="{DFABD2B5-E255-72D3-605E-7CBB15F574C6}"/>
              </a:ext>
            </a:extLst>
          </p:cNvPr>
          <p:cNvSpPr>
            <a:spLocks noGrp="1"/>
          </p:cNvSpPr>
          <p:nvPr>
            <p:custDataLst>
              <p:tags r:id="rId21"/>
            </p:custDataLst>
          </p:nvPr>
        </p:nvSpPr>
        <p:spPr bwMode="auto">
          <a:xfrm>
            <a:off x="7177088" y="2095500"/>
            <a:ext cx="4587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fld id="{F0CD9E4E-4FA3-408A-92C5-6429ECBFC72B}" type="datetime'''''''''''''''''''''Ro''''''''''''ma''''ni''''a'''">
              <a:rPr kumimoji="0" lang="en-US" altLang="en-US" sz="900" b="1" i="0" u="none" strike="noStrike" kern="1200" cap="none" spc="0" normalizeH="0" baseline="0" noProof="0" smtClean="0">
                <a:ln>
                  <a:noFill/>
                </a:ln>
                <a:solidFill>
                  <a:srgbClr val="373737"/>
                </a:solidFill>
                <a:effectLst/>
                <a:uLnTx/>
                <a:uFillTx/>
                <a:latin typeface="The Wave Sans TT"/>
                <a:ea typeface="+mn-ea"/>
                <a:cs typeface="+mn-cs"/>
              </a:rPr>
              <a:pPr marL="0" marR="0" lvl="1" indent="0" algn="r" defTabSz="914400" eaLnBrk="1" fontAlgn="auto" latinLnBrk="0" hangingPunct="1">
                <a:lnSpc>
                  <a:spcPct val="100000"/>
                </a:lnSpc>
                <a:spcBef>
                  <a:spcPct val="0"/>
                </a:spcBef>
                <a:spcAft>
                  <a:spcPct val="0"/>
                </a:spcAft>
                <a:buClrTx/>
                <a:buSzTx/>
                <a:buFont typeface="Arial" panose="020B0604020202020204" pitchFamily="34" charset="0"/>
                <a:buNone/>
                <a:tabLst/>
                <a:defRPr/>
              </a:pPr>
              <a:t>Romania</a:t>
            </a:fld>
            <a:endParaRPr kumimoji="0" lang="en-US" sz="900" b="1" i="0" u="none" strike="noStrike" kern="1200" cap="none" spc="0" normalizeH="0" baseline="0" noProof="0">
              <a:ln>
                <a:noFill/>
              </a:ln>
              <a:solidFill>
                <a:srgbClr val="373737"/>
              </a:solidFill>
              <a:effectLst/>
              <a:uLnTx/>
              <a:uFillTx/>
              <a:latin typeface="The Wave Sans TT"/>
              <a:ea typeface="+mn-ea"/>
              <a:cs typeface="+mn-cs"/>
            </a:endParaRPr>
          </a:p>
        </p:txBody>
      </p:sp>
      <p:sp>
        <p:nvSpPr>
          <p:cNvPr id="250" name="object 79">
            <a:extLst>
              <a:ext uri="{FF2B5EF4-FFF2-40B4-BE49-F238E27FC236}">
                <a16:creationId xmlns:a16="http://schemas.microsoft.com/office/drawing/2014/main" id="{8925B447-9811-4849-9C13-8349B9FCBEF8}"/>
              </a:ext>
            </a:extLst>
          </p:cNvPr>
          <p:cNvSpPr/>
          <p:nvPr/>
        </p:nvSpPr>
        <p:spPr>
          <a:xfrm>
            <a:off x="7740650" y="2523331"/>
            <a:ext cx="476502" cy="320675"/>
          </a:xfrm>
          <a:custGeom>
            <a:avLst/>
            <a:gdLst/>
            <a:ahLst/>
            <a:cxnLst/>
            <a:rect l="l" t="t" r="r" b="b"/>
            <a:pathLst>
              <a:path w="439420" h="320039">
                <a:moveTo>
                  <a:pt x="0" y="53339"/>
                </a:moveTo>
                <a:lnTo>
                  <a:pt x="4191" y="32575"/>
                </a:lnTo>
                <a:lnTo>
                  <a:pt x="15621" y="15620"/>
                </a:lnTo>
                <a:lnTo>
                  <a:pt x="32575" y="4190"/>
                </a:lnTo>
                <a:lnTo>
                  <a:pt x="53339" y="0"/>
                </a:lnTo>
                <a:lnTo>
                  <a:pt x="385572" y="0"/>
                </a:lnTo>
                <a:lnTo>
                  <a:pt x="406336" y="4190"/>
                </a:lnTo>
                <a:lnTo>
                  <a:pt x="423291" y="15620"/>
                </a:lnTo>
                <a:lnTo>
                  <a:pt x="434721" y="32575"/>
                </a:lnTo>
                <a:lnTo>
                  <a:pt x="438911" y="53339"/>
                </a:lnTo>
                <a:lnTo>
                  <a:pt x="438911" y="266699"/>
                </a:lnTo>
                <a:lnTo>
                  <a:pt x="434720" y="287464"/>
                </a:lnTo>
                <a:lnTo>
                  <a:pt x="423290" y="304418"/>
                </a:lnTo>
                <a:lnTo>
                  <a:pt x="406336" y="315848"/>
                </a:lnTo>
                <a:lnTo>
                  <a:pt x="385572" y="320039"/>
                </a:lnTo>
                <a:lnTo>
                  <a:pt x="53339" y="320039"/>
                </a:lnTo>
                <a:lnTo>
                  <a:pt x="32575" y="315848"/>
                </a:lnTo>
                <a:lnTo>
                  <a:pt x="15620" y="304418"/>
                </a:lnTo>
                <a:lnTo>
                  <a:pt x="4190" y="287464"/>
                </a:lnTo>
                <a:lnTo>
                  <a:pt x="0" y="266699"/>
                </a:lnTo>
                <a:lnTo>
                  <a:pt x="0" y="53339"/>
                </a:lnTo>
                <a:close/>
              </a:path>
            </a:pathLst>
          </a:custGeom>
          <a:solidFill>
            <a:schemeClr val="bg1"/>
          </a:solidFill>
          <a:ln w="12700">
            <a:solidFill>
              <a:schemeClr val="bg1"/>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50" b="1">
                <a:solidFill>
                  <a:srgbClr val="0032A0"/>
                </a:solidFill>
                <a:latin typeface="The Wave Sans TT (Body)"/>
              </a:rPr>
              <a:t>~</a:t>
            </a:r>
            <a:r>
              <a:rPr kumimoji="0" lang="en-US" sz="1050" b="1" i="0" u="none" strike="noStrike" kern="1200" cap="none" spc="0" normalizeH="0" baseline="0" noProof="0">
                <a:ln>
                  <a:noFill/>
                </a:ln>
                <a:solidFill>
                  <a:srgbClr val="0032A0"/>
                </a:solidFill>
                <a:effectLst/>
                <a:uLnTx/>
                <a:uFillTx/>
                <a:latin typeface="The Wave Sans TT (Body)"/>
              </a:rPr>
              <a:t>1 GW*</a:t>
            </a:r>
            <a:endParaRPr kumimoji="0" lang="en-US" sz="1800" b="1" i="0" u="none" strike="noStrike" kern="1200" cap="none" spc="0" normalizeH="0" baseline="0" noProof="0">
              <a:ln>
                <a:noFill/>
              </a:ln>
              <a:solidFill>
                <a:srgbClr val="0032A0"/>
              </a:solidFill>
              <a:effectLst/>
              <a:uLnTx/>
              <a:uFillTx/>
              <a:latin typeface="The Wave Sans TT (Body)"/>
            </a:endParaRPr>
          </a:p>
        </p:txBody>
      </p:sp>
      <p:sp>
        <p:nvSpPr>
          <p:cNvPr id="251" name="object 79">
            <a:extLst>
              <a:ext uri="{FF2B5EF4-FFF2-40B4-BE49-F238E27FC236}">
                <a16:creationId xmlns:a16="http://schemas.microsoft.com/office/drawing/2014/main" id="{76CC0B36-5CB9-4C6B-A432-F8DC6D63E0A5}"/>
              </a:ext>
            </a:extLst>
          </p:cNvPr>
          <p:cNvSpPr/>
          <p:nvPr/>
        </p:nvSpPr>
        <p:spPr>
          <a:xfrm>
            <a:off x="9954468" y="2548843"/>
            <a:ext cx="476502" cy="319088"/>
          </a:xfrm>
          <a:custGeom>
            <a:avLst/>
            <a:gdLst/>
            <a:ahLst/>
            <a:cxnLst/>
            <a:rect l="l" t="t" r="r" b="b"/>
            <a:pathLst>
              <a:path w="439420" h="320039">
                <a:moveTo>
                  <a:pt x="0" y="53339"/>
                </a:moveTo>
                <a:lnTo>
                  <a:pt x="4191" y="32575"/>
                </a:lnTo>
                <a:lnTo>
                  <a:pt x="15621" y="15620"/>
                </a:lnTo>
                <a:lnTo>
                  <a:pt x="32575" y="4190"/>
                </a:lnTo>
                <a:lnTo>
                  <a:pt x="53339" y="0"/>
                </a:lnTo>
                <a:lnTo>
                  <a:pt x="385572" y="0"/>
                </a:lnTo>
                <a:lnTo>
                  <a:pt x="406336" y="4190"/>
                </a:lnTo>
                <a:lnTo>
                  <a:pt x="423291" y="15620"/>
                </a:lnTo>
                <a:lnTo>
                  <a:pt x="434721" y="32575"/>
                </a:lnTo>
                <a:lnTo>
                  <a:pt x="438911" y="53339"/>
                </a:lnTo>
                <a:lnTo>
                  <a:pt x="438911" y="266699"/>
                </a:lnTo>
                <a:lnTo>
                  <a:pt x="434720" y="287464"/>
                </a:lnTo>
                <a:lnTo>
                  <a:pt x="423290" y="304418"/>
                </a:lnTo>
                <a:lnTo>
                  <a:pt x="406336" y="315848"/>
                </a:lnTo>
                <a:lnTo>
                  <a:pt x="385572" y="320039"/>
                </a:lnTo>
                <a:lnTo>
                  <a:pt x="53339" y="320039"/>
                </a:lnTo>
                <a:lnTo>
                  <a:pt x="32575" y="315848"/>
                </a:lnTo>
                <a:lnTo>
                  <a:pt x="15620" y="304418"/>
                </a:lnTo>
                <a:lnTo>
                  <a:pt x="4190" y="287464"/>
                </a:lnTo>
                <a:lnTo>
                  <a:pt x="0" y="266699"/>
                </a:lnTo>
                <a:lnTo>
                  <a:pt x="0" y="53339"/>
                </a:lnTo>
                <a:close/>
              </a:path>
            </a:pathLst>
          </a:custGeom>
          <a:solidFill>
            <a:schemeClr val="bg1"/>
          </a:solidFill>
          <a:ln w="12700">
            <a:solidFill>
              <a:schemeClr val="bg1"/>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32A0"/>
                </a:solidFill>
                <a:effectLst/>
                <a:uLnTx/>
                <a:uFillTx/>
                <a:latin typeface="The Wave Sans TT (Body)"/>
              </a:rPr>
              <a:t>~1 GW*</a:t>
            </a:r>
            <a:endParaRPr kumimoji="0" lang="en-US" sz="1800" b="1" i="0" u="none" strike="noStrike" kern="1200" cap="none" spc="0" normalizeH="0" baseline="0" noProof="0">
              <a:ln>
                <a:noFill/>
              </a:ln>
              <a:solidFill>
                <a:srgbClr val="0032A0"/>
              </a:solidFill>
              <a:effectLst/>
              <a:uLnTx/>
              <a:uFillTx/>
              <a:latin typeface="The Wave Sans TT (Body)"/>
            </a:endParaRPr>
          </a:p>
        </p:txBody>
      </p:sp>
      <p:sp>
        <p:nvSpPr>
          <p:cNvPr id="4" name="Text Placeholder 6">
            <a:extLst>
              <a:ext uri="{FF2B5EF4-FFF2-40B4-BE49-F238E27FC236}">
                <a16:creationId xmlns:a16="http://schemas.microsoft.com/office/drawing/2014/main" id="{9075EB1A-BA3E-879C-C974-78974A6EB7E7}"/>
              </a:ext>
            </a:extLst>
          </p:cNvPr>
          <p:cNvSpPr txBox="1">
            <a:spLocks/>
          </p:cNvSpPr>
          <p:nvPr/>
        </p:nvSpPr>
        <p:spPr>
          <a:xfrm>
            <a:off x="1862867" y="7101408"/>
            <a:ext cx="10329133" cy="107722"/>
          </a:xfrm>
          <a:prstGeom prst="rect">
            <a:avLst/>
          </a:prstGeom>
          <a:ln>
            <a:noFill/>
          </a:ln>
        </p:spPr>
        <p:txBody>
          <a:bodyPr wrap="square" lIns="0" tIns="0" rIns="0" bIns="0">
            <a:sp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eaLnBrk="1" fontAlgn="auto" latinLnBrk="0" hangingPunct="1">
              <a:lnSpc>
                <a:spcPct val="100000"/>
              </a:lnSpc>
              <a:spcBef>
                <a:spcPts val="800"/>
              </a:spcBef>
              <a:spcAft>
                <a:spcPts val="0"/>
              </a:spcAft>
              <a:buClrTx/>
              <a:buSzTx/>
              <a:buFont typeface="Arial" panose="020B0604020202020204" pitchFamily="34" charset="0"/>
              <a:buNone/>
              <a:tabLst/>
              <a:defRPr/>
            </a:pPr>
            <a:endParaRPr kumimoji="0" lang="en-US" sz="700" b="0" i="0" u="none" strike="noStrike" kern="1200" cap="none" spc="0" normalizeH="0" baseline="0" noProof="0">
              <a:ln>
                <a:noFill/>
              </a:ln>
              <a:solidFill>
                <a:srgbClr val="373737"/>
              </a:solidFill>
              <a:effectLst/>
              <a:uLnTx/>
              <a:uFillTx/>
              <a:latin typeface="The Wave Sans TT (Body)"/>
              <a:sym typeface="Arial" panose="020B0604020202020204" pitchFamily="34" charset="0"/>
            </a:endParaRPr>
          </a:p>
        </p:txBody>
      </p:sp>
      <p:sp>
        <p:nvSpPr>
          <p:cNvPr id="104" name="TextBox 103">
            <a:extLst>
              <a:ext uri="{FF2B5EF4-FFF2-40B4-BE49-F238E27FC236}">
                <a16:creationId xmlns:a16="http://schemas.microsoft.com/office/drawing/2014/main" id="{96198711-1217-459F-A755-280C9EB85290}"/>
              </a:ext>
            </a:extLst>
          </p:cNvPr>
          <p:cNvSpPr txBox="1"/>
          <p:nvPr/>
        </p:nvSpPr>
        <p:spPr>
          <a:xfrm>
            <a:off x="8197056" y="3396839"/>
            <a:ext cx="1871664" cy="12382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
                <a:srgbClr val="0032A0"/>
              </a:buClr>
              <a:buSzTx/>
              <a:buFontTx/>
              <a:buNone/>
              <a:tabLst/>
              <a:defRPr/>
            </a:pPr>
            <a:r>
              <a:rPr kumimoji="0" lang="en-US" sz="800" b="0" i="0" u="none" strike="noStrike" kern="1200" cap="none" spc="0" normalizeH="0" baseline="0" noProof="0">
                <a:ln>
                  <a:noFill/>
                </a:ln>
                <a:effectLst/>
                <a:uLnTx/>
                <a:uFillTx/>
                <a:latin typeface="The Wave Sans TT (Body)"/>
              </a:rPr>
              <a:t>* operating / under construction / RTB</a:t>
            </a:r>
            <a:r>
              <a:rPr kumimoji="0" lang="en-US" sz="800" b="0" i="0" u="none" strike="noStrike" kern="1200" cap="none" spc="0" normalizeH="0" baseline="30000" noProof="0">
                <a:ln>
                  <a:noFill/>
                </a:ln>
                <a:effectLst/>
                <a:uLnTx/>
                <a:uFillTx/>
                <a:latin typeface="The Wave Sans TT (Body)"/>
              </a:rPr>
              <a:t>1</a:t>
            </a:r>
          </a:p>
        </p:txBody>
      </p:sp>
      <p:sp>
        <p:nvSpPr>
          <p:cNvPr id="12" name="Rounded Rectangle 11">
            <a:extLst>
              <a:ext uri="{FF2B5EF4-FFF2-40B4-BE49-F238E27FC236}">
                <a16:creationId xmlns:a16="http://schemas.microsoft.com/office/drawing/2014/main" id="{31B0E572-C6E0-987E-CEF2-412966F7F8AF}"/>
              </a:ext>
            </a:extLst>
          </p:cNvPr>
          <p:cNvSpPr/>
          <p:nvPr/>
        </p:nvSpPr>
        <p:spPr>
          <a:xfrm>
            <a:off x="6282555" y="1314975"/>
            <a:ext cx="5473700" cy="27061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72000" rtlCol="0" anchor="ctr"/>
          <a:lstStyle/>
          <a:p>
            <a:pPr marL="0" marR="0" lvl="0" indent="0" defTabSz="914400" eaLnBrk="1" fontAlgn="auto" latinLnBrk="0" hangingPunct="1">
              <a:lnSpc>
                <a:spcPct val="114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The Wave Sans TT (Body)"/>
              </a:rPr>
              <a:t>Diversified across technology, geography and revenue model</a:t>
            </a:r>
            <a:endParaRPr kumimoji="0" lang="en-US" sz="1200" b="1" i="0" u="none" strike="noStrike" kern="1200" cap="none" spc="0" normalizeH="0" baseline="30000" noProof="0">
              <a:ln>
                <a:noFill/>
              </a:ln>
              <a:solidFill>
                <a:schemeClr val="accent1"/>
              </a:solidFill>
              <a:effectLst/>
              <a:uLnTx/>
              <a:uFillTx/>
              <a:latin typeface="The Wave Sans TT (Body)"/>
            </a:endParaRPr>
          </a:p>
        </p:txBody>
      </p:sp>
      <p:sp>
        <p:nvSpPr>
          <p:cNvPr id="39" name="Rounded Rectangle 38">
            <a:extLst>
              <a:ext uri="{FF2B5EF4-FFF2-40B4-BE49-F238E27FC236}">
                <a16:creationId xmlns:a16="http://schemas.microsoft.com/office/drawing/2014/main" id="{58B94811-710D-5324-8531-2B2FB3DC58AE}"/>
              </a:ext>
            </a:extLst>
          </p:cNvPr>
          <p:cNvSpPr/>
          <p:nvPr/>
        </p:nvSpPr>
        <p:spPr>
          <a:xfrm>
            <a:off x="6282555" y="3717032"/>
            <a:ext cx="5473700" cy="27061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72000" rtlCol="0" anchor="ctr"/>
          <a:lstStyle/>
          <a:p>
            <a:pPr marL="0" marR="0" lvl="0" indent="0" defTabSz="914400" eaLnBrk="1" fontAlgn="auto" latinLnBrk="0" hangingPunct="1">
              <a:lnSpc>
                <a:spcPct val="114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The Wave Sans TT (Body)"/>
              </a:rPr>
              <a:t>Well-balanced pipeline (5.1 GW), under various stages of development</a:t>
            </a:r>
            <a:endParaRPr kumimoji="0" lang="en-US" sz="1200" b="1" i="0" u="none" strike="noStrike" kern="1200" cap="none" spc="0" normalizeH="0" baseline="30000" noProof="0">
              <a:ln>
                <a:noFill/>
              </a:ln>
              <a:solidFill>
                <a:schemeClr val="accent1"/>
              </a:solidFill>
              <a:effectLst/>
              <a:uLnTx/>
              <a:uFillTx/>
              <a:latin typeface="The Wave Sans TT (Body)"/>
            </a:endParaRPr>
          </a:p>
        </p:txBody>
      </p:sp>
      <p:cxnSp>
        <p:nvCxnSpPr>
          <p:cNvPr id="83" name="Straight Connector 82">
            <a:extLst>
              <a:ext uri="{FF2B5EF4-FFF2-40B4-BE49-F238E27FC236}">
                <a16:creationId xmlns:a16="http://schemas.microsoft.com/office/drawing/2014/main" id="{30820AA4-9460-CDCF-F6D9-B877DAC1C551}"/>
              </a:ext>
            </a:extLst>
          </p:cNvPr>
          <p:cNvCxnSpPr>
            <a:cxnSpLocks/>
          </p:cNvCxnSpPr>
          <p:nvPr/>
        </p:nvCxnSpPr>
        <p:spPr>
          <a:xfrm>
            <a:off x="6275388" y="1585589"/>
            <a:ext cx="5473241"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509BCFA-C98C-A58D-A889-46474ABB2222}"/>
              </a:ext>
            </a:extLst>
          </p:cNvPr>
          <p:cNvCxnSpPr>
            <a:cxnSpLocks/>
          </p:cNvCxnSpPr>
          <p:nvPr/>
        </p:nvCxnSpPr>
        <p:spPr>
          <a:xfrm>
            <a:off x="6275388" y="3993704"/>
            <a:ext cx="5473241"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D3E7E84F-2DF5-EB07-F0AD-5E803A786E85}"/>
              </a:ext>
            </a:extLst>
          </p:cNvPr>
          <p:cNvSpPr txBox="1"/>
          <p:nvPr/>
        </p:nvSpPr>
        <p:spPr>
          <a:xfrm>
            <a:off x="551384" y="1321023"/>
            <a:ext cx="532859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45720" rIns="0" bIns="45720" rtlCol="0" anchor="t" anchorCtr="0">
            <a:spAutoFit/>
          </a:bodyPr>
          <a:lstStyle>
            <a:defPPr>
              <a:defRPr lang="en-US"/>
            </a:defPPr>
            <a:lvl1pPr marR="0" lvl="0" indent="0" fontAlgn="auto">
              <a:lnSpc>
                <a:spcPct val="100000"/>
              </a:lnSpc>
              <a:spcBef>
                <a:spcPts val="0"/>
              </a:spcBef>
              <a:spcAft>
                <a:spcPts val="600"/>
              </a:spcAft>
              <a:buClrTx/>
              <a:buSzTx/>
              <a:buFont typeface="Segoe UI" panose="020B0502040204020203" pitchFamily="34" charset="0"/>
              <a:buChar char="​"/>
              <a:tabLst/>
              <a:defRPr kumimoji="0" sz="1100" b="1" i="0" u="none" strike="noStrike" cap="none" spc="0" normalizeH="0" baseline="0">
                <a:ln>
                  <a:noFill/>
                </a:ln>
                <a:solidFill>
                  <a:srgbClr val="0032A0"/>
                </a:solidFill>
                <a:effectLst/>
                <a:uLnTx/>
                <a:uFillTx/>
                <a:latin typeface="Aria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200" b="1" i="0" u="none" strike="noStrike" kern="1200" cap="none" spc="-10" normalizeH="0" baseline="0" noProof="0">
                <a:ln>
                  <a:noFill/>
                </a:ln>
                <a:solidFill>
                  <a:srgbClr val="00319F"/>
                </a:solidFill>
                <a:effectLst/>
                <a:uLnTx/>
                <a:uFillTx/>
                <a:latin typeface="The Wave Sans TT" panose="00000500000000000000" pitchFamily="2" charset="0"/>
                <a:ea typeface="+mn-ea"/>
                <a:cs typeface="Calibri"/>
              </a:rPr>
              <a:t>D</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elivery</a:t>
            </a:r>
            <a:r>
              <a:rPr kumimoji="0" lang="en-US" sz="1200" b="1" i="0" u="none" strike="noStrike" kern="1200" cap="none" spc="-10"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of</a:t>
            </a:r>
            <a:r>
              <a:rPr kumimoji="0" lang="en-US" sz="1200" b="1" i="0" u="none" strike="noStrike" kern="1200" cap="none" spc="-15" normalizeH="0" baseline="0" noProof="0">
                <a:ln>
                  <a:noFill/>
                </a:ln>
                <a:solidFill>
                  <a:srgbClr val="00319F"/>
                </a:solidFill>
                <a:effectLst/>
                <a:uLnTx/>
                <a:uFillTx/>
                <a:latin typeface="The Wave Sans TT" panose="00000500000000000000" pitchFamily="2" charset="0"/>
                <a:ea typeface="+mn-ea"/>
                <a:cs typeface="Calibri"/>
              </a:rPr>
              <a:t> growth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plan</a:t>
            </a:r>
            <a:r>
              <a:rPr kumimoji="0" lang="en-US" sz="1200" b="1" i="0" u="none" strike="noStrike" kern="1200" cap="none" spc="-5"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to achieve</a:t>
            </a:r>
            <a:r>
              <a:rPr kumimoji="0" lang="en-US" sz="1200" b="1" i="0" u="none" strike="noStrike" kern="1200" cap="none" spc="-25"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a</a:t>
            </a:r>
            <a:r>
              <a:rPr kumimoji="0" lang="en-US" sz="1200" b="1" i="0" u="none" strike="noStrike" kern="1200" cap="none" spc="-10"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material</a:t>
            </a:r>
            <a:r>
              <a:rPr kumimoji="0" lang="en-US" sz="1200" b="1" i="0" u="none" strike="noStrike" kern="1200" cap="none" spc="-15"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RES</a:t>
            </a:r>
            <a:r>
              <a:rPr kumimoji="0" lang="en-US" sz="1200" b="1" i="0" u="none" strike="noStrike" kern="1200" cap="none" spc="-5"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position</a:t>
            </a:r>
            <a:r>
              <a:rPr kumimoji="0" lang="en-US" sz="1200" b="1" i="0" u="none" strike="noStrike" kern="1200" cap="none" spc="-15" normalizeH="0" baseline="0" noProof="0">
                <a:ln>
                  <a:noFill/>
                </a:ln>
                <a:solidFill>
                  <a:srgbClr val="00319F"/>
                </a:solidFill>
                <a:effectLst/>
                <a:uLnTx/>
                <a:uFillTx/>
                <a:latin typeface="The Wave Sans TT" panose="00000500000000000000" pitchFamily="2" charset="0"/>
                <a:ea typeface="+mn-ea"/>
                <a:cs typeface="Calibri"/>
              </a:rPr>
              <a:t> </a:t>
            </a:r>
            <a:r>
              <a:rPr kumimoji="0" lang="en-US" sz="1200" b="1" i="0" u="none" strike="noStrike" kern="1200" cap="none" spc="0" normalizeH="0" baseline="0" noProof="0">
                <a:ln>
                  <a:noFill/>
                </a:ln>
                <a:solidFill>
                  <a:srgbClr val="00319F"/>
                </a:solidFill>
                <a:effectLst/>
                <a:uLnTx/>
                <a:uFillTx/>
                <a:latin typeface="The Wave Sans TT" panose="00000500000000000000" pitchFamily="2" charset="0"/>
                <a:ea typeface="+mn-ea"/>
                <a:cs typeface="Calibri"/>
              </a:rPr>
              <a:t>in </a:t>
            </a:r>
            <a:r>
              <a:rPr kumimoji="0" lang="en-US" sz="1200" b="1" i="0" u="none" strike="noStrike" kern="1200" cap="none" spc="-25" normalizeH="0" baseline="0" noProof="0">
                <a:ln>
                  <a:noFill/>
                </a:ln>
                <a:solidFill>
                  <a:srgbClr val="00319F"/>
                </a:solidFill>
                <a:effectLst/>
                <a:uLnTx/>
                <a:uFillTx/>
                <a:latin typeface="The Wave Sans TT" panose="00000500000000000000" pitchFamily="2" charset="0"/>
                <a:ea typeface="+mn-ea"/>
                <a:cs typeface="Calibri"/>
              </a:rPr>
              <a:t>SEE</a:t>
            </a:r>
            <a:endParaRPr kumimoji="0" lang="en-US" sz="1200" b="1" i="0" u="none" strike="noStrike" kern="1200" cap="none" spc="0" normalizeH="0" baseline="0" noProof="0">
              <a:ln>
                <a:noFill/>
              </a:ln>
              <a:solidFill>
                <a:srgbClr val="0032A0"/>
              </a:solidFill>
              <a:effectLst/>
              <a:uLnTx/>
              <a:uFillTx/>
              <a:latin typeface="+mn-lt"/>
              <a:ea typeface="+mn-ea"/>
              <a:cs typeface="Arial" panose="020B0604020202020204" pitchFamily="34" charset="0"/>
            </a:endParaRPr>
          </a:p>
        </p:txBody>
      </p:sp>
      <p:sp>
        <p:nvSpPr>
          <p:cNvPr id="2" name="Speech Bubble: Rectangle 1">
            <a:extLst>
              <a:ext uri="{FF2B5EF4-FFF2-40B4-BE49-F238E27FC236}">
                <a16:creationId xmlns:a16="http://schemas.microsoft.com/office/drawing/2014/main" id="{B63403D5-5F81-716F-054C-511D0ED5EB06}"/>
              </a:ext>
            </a:extLst>
          </p:cNvPr>
          <p:cNvSpPr/>
          <p:nvPr/>
        </p:nvSpPr>
        <p:spPr>
          <a:xfrm>
            <a:off x="1848356" y="1953369"/>
            <a:ext cx="2181256" cy="489050"/>
          </a:xfrm>
          <a:prstGeom prst="wedgeRectCallout">
            <a:avLst>
              <a:gd name="adj1" fmla="val 43008"/>
              <a:gd name="adj2" fmla="val 101377"/>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marL="0" marR="0" lvl="0" indent="0" defTabSz="914400" rtl="0" eaLnBrk="1" fontAlgn="auto" latinLnBrk="0" hangingPunct="1">
              <a:lnSpc>
                <a:spcPct val="100000"/>
              </a:lnSpc>
              <a:spcBef>
                <a:spcPts val="600"/>
              </a:spcBef>
              <a:spcAft>
                <a:spcPts val="0"/>
              </a:spcAft>
              <a:buClr>
                <a:srgbClr val="0032A0"/>
              </a:buClr>
              <a:buSzTx/>
              <a:buFontTx/>
              <a:buNone/>
              <a:tabLst/>
              <a:defRPr/>
            </a:pPr>
            <a:r>
              <a:rPr kumimoji="0" lang="en-US" sz="900" b="1" i="0" u="none" strike="noStrike" kern="1200" cap="none" spc="0" normalizeH="0" baseline="0" noProof="0">
                <a:ln>
                  <a:noFill/>
                </a:ln>
                <a:solidFill>
                  <a:schemeClr val="accent1"/>
                </a:solidFill>
                <a:effectLst/>
                <a:uLnTx/>
                <a:uFillTx/>
                <a:latin typeface="The Wave Sans TT"/>
                <a:ea typeface="+mn-ea"/>
                <a:cs typeface="+mn-cs"/>
              </a:rPr>
              <a:t>RES development </a:t>
            </a:r>
            <a:r>
              <a:rPr lang="en-US" sz="900" b="1">
                <a:solidFill>
                  <a:schemeClr val="accent1"/>
                </a:solidFill>
                <a:latin typeface="The Wave Sans TT"/>
              </a:rPr>
              <a:t>funded through external PF debt, ringfencing RES capital structure </a:t>
            </a:r>
            <a:r>
              <a:rPr kumimoji="0" lang="en-US" sz="900" b="1" i="0" u="none" strike="noStrike" kern="1200" cap="none" spc="0" normalizeH="0" baseline="0" noProof="0">
                <a:ln>
                  <a:noFill/>
                </a:ln>
                <a:solidFill>
                  <a:schemeClr val="accent1"/>
                </a:solidFill>
                <a:effectLst/>
                <a:uLnTx/>
                <a:uFillTx/>
                <a:latin typeface="The Wave Sans TT"/>
                <a:ea typeface="+mn-ea"/>
                <a:cs typeface="+mn-cs"/>
              </a:rPr>
              <a:t>from rest of the Group</a:t>
            </a:r>
          </a:p>
        </p:txBody>
      </p:sp>
      <p:cxnSp>
        <p:nvCxnSpPr>
          <p:cNvPr id="6" name="Straight Connector 5">
            <a:extLst>
              <a:ext uri="{FF2B5EF4-FFF2-40B4-BE49-F238E27FC236}">
                <a16:creationId xmlns:a16="http://schemas.microsoft.com/office/drawing/2014/main" id="{5677FEFD-B669-EB01-08DD-5E9010204A8A}"/>
              </a:ext>
            </a:extLst>
          </p:cNvPr>
          <p:cNvCxnSpPr>
            <a:cxnSpLocks/>
          </p:cNvCxnSpPr>
          <p:nvPr/>
        </p:nvCxnSpPr>
        <p:spPr>
          <a:xfrm>
            <a:off x="524973" y="1585589"/>
            <a:ext cx="5473241"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8E38A3-5C00-46A3-BCA8-D38267DFA07F}"/>
              </a:ext>
            </a:extLst>
          </p:cNvPr>
          <p:cNvCxnSpPr/>
          <p:nvPr>
            <p:custDataLst>
              <p:tags r:id="rId22"/>
            </p:custDataLst>
          </p:nvPr>
        </p:nvCxnSpPr>
        <p:spPr bwMode="auto">
          <a:xfrm>
            <a:off x="1254125" y="5357813"/>
            <a:ext cx="33337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chemeClr val="tx1"/>
                </a:solidFill>
                <a:prstDash val="lgDash"/>
                <a:miter lim="800000"/>
                <a:headEnd type="none" w="med" len="med"/>
                <a:tailEnd type="none" w="med" len="med"/>
              </a14:hiddenLine>
            </a:ext>
          </a:ex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7D8BC631-5A28-A626-7015-E6002075E4A7}"/>
              </a:ext>
            </a:extLst>
          </p:cNvPr>
          <p:cNvCxnSpPr/>
          <p:nvPr>
            <p:custDataLst>
              <p:tags r:id="rId23"/>
            </p:custDataLst>
          </p:nvPr>
        </p:nvCxnSpPr>
        <p:spPr bwMode="auto">
          <a:xfrm>
            <a:off x="2006600" y="5194300"/>
            <a:ext cx="33337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chemeClr val="tx1"/>
                </a:solidFill>
                <a:prstDash val="lgDash"/>
                <a:miter lim="800000"/>
                <a:headEnd type="none" w="med" len="med"/>
                <a:tailEnd type="none" w="med" len="med"/>
              </a14:hiddenLine>
            </a:ext>
          </a:ex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613DB708-14F4-1AF1-C4B5-B3029F40A8C4}"/>
              </a:ext>
            </a:extLst>
          </p:cNvPr>
          <p:cNvCxnSpPr/>
          <p:nvPr>
            <p:custDataLst>
              <p:tags r:id="rId24"/>
            </p:custDataLst>
          </p:nvPr>
        </p:nvCxnSpPr>
        <p:spPr bwMode="auto">
          <a:xfrm>
            <a:off x="2759075" y="5089525"/>
            <a:ext cx="33337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chemeClr val="tx1"/>
                </a:solidFill>
                <a:prstDash val="lgDash"/>
                <a:miter lim="800000"/>
                <a:headEnd type="none" w="med" len="med"/>
                <a:tailEnd type="none" w="med" len="med"/>
              </a14:hiddenLine>
            </a:ext>
          </a:ex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D17322C0-48FE-428C-9846-E05BD8CF6D11}"/>
              </a:ext>
            </a:extLst>
          </p:cNvPr>
          <p:cNvCxnSpPr/>
          <p:nvPr>
            <p:custDataLst>
              <p:tags r:id="rId25"/>
            </p:custDataLst>
          </p:nvPr>
        </p:nvCxnSpPr>
        <p:spPr bwMode="auto">
          <a:xfrm>
            <a:off x="3509963" y="5062538"/>
            <a:ext cx="333375" cy="0"/>
          </a:xfrm>
          <a:prstGeom prst="line">
            <a:avLst/>
          </a:prstGeom>
          <a:noFill/>
          <a:ln w="3175" cap="flat" cmpd="sng" algn="ctr">
            <a:noFill/>
            <a:prstDash val="lgDash"/>
            <a:miter lim="800000"/>
            <a:headEnd type="none" w="med" len="med"/>
            <a:tailEnd type="none" w="med" len="med"/>
          </a:ln>
          <a:effectLst/>
          <a:extLst>
            <a:ext uri="{91240B29-F687-4F45-9708-019B960494DF}">
              <a14:hiddenLine xmlns:a14="http://schemas.microsoft.com/office/drawing/2010/main" w="3175" cap="flat" cmpd="sng" algn="ctr">
                <a:solidFill>
                  <a:schemeClr val="tx1"/>
                </a:solidFill>
                <a:prstDash val="lgDash"/>
                <a:miter lim="800000"/>
                <a:headEnd type="none" w="med" len="med"/>
                <a:tailEnd type="none" w="med" len="med"/>
              </a14:hiddenLine>
            </a:ext>
          </a:ex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DC881A25-8B7D-0FE0-E6A3-54A93E9336CD}"/>
              </a:ext>
            </a:extLst>
          </p:cNvPr>
          <p:cNvCxnSpPr/>
          <p:nvPr>
            <p:custDataLst>
              <p:tags r:id="rId26"/>
            </p:custDataLst>
          </p:nvPr>
        </p:nvCxnSpPr>
        <p:spPr bwMode="auto">
          <a:xfrm>
            <a:off x="4262438" y="5062538"/>
            <a:ext cx="333375"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25" name="Chart 224">
            <a:extLst>
              <a:ext uri="{FF2B5EF4-FFF2-40B4-BE49-F238E27FC236}">
                <a16:creationId xmlns:a16="http://schemas.microsoft.com/office/drawing/2014/main" id="{35A76875-9C46-4FE8-CB8A-D4495FEFEB83}"/>
              </a:ext>
            </a:extLst>
          </p:cNvPr>
          <p:cNvGraphicFramePr/>
          <p:nvPr>
            <p:custDataLst>
              <p:tags r:id="rId27"/>
            </p:custDataLst>
          </p:nvPr>
        </p:nvGraphicFramePr>
        <p:xfrm>
          <a:off x="585788" y="2414588"/>
          <a:ext cx="4678362" cy="3438525"/>
        </p:xfrm>
        <a:graphic>
          <a:graphicData uri="http://schemas.openxmlformats.org/drawingml/2006/chart">
            <c:chart xmlns:c="http://schemas.openxmlformats.org/drawingml/2006/chart" xmlns:r="http://schemas.openxmlformats.org/officeDocument/2006/relationships" r:id="rId64"/>
          </a:graphicData>
        </a:graphic>
      </p:graphicFrame>
      <p:sp>
        <p:nvSpPr>
          <p:cNvPr id="49" name="Text Placeholder 2">
            <a:extLst>
              <a:ext uri="{FF2B5EF4-FFF2-40B4-BE49-F238E27FC236}">
                <a16:creationId xmlns:a16="http://schemas.microsoft.com/office/drawing/2014/main" id="{19E0B8D2-E679-F5A4-EEA0-8E64C6500851}"/>
              </a:ext>
            </a:extLst>
          </p:cNvPr>
          <p:cNvSpPr>
            <a:spLocks noGrp="1"/>
          </p:cNvSpPr>
          <p:nvPr>
            <p:custDataLst>
              <p:tags r:id="rId28"/>
            </p:custDataLst>
          </p:nvPr>
        </p:nvSpPr>
        <p:spPr bwMode="auto">
          <a:xfrm>
            <a:off x="736600" y="5661025"/>
            <a:ext cx="6175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6BCB356D-F19D-42A0-8F99-DDDDD21E07B2}" type="datetime'O''''''''''''p''e''''''''''''r''''''a''''''t''''''''''in''g'">
              <a:rPr lang="en-US" altLang="en-US" sz="1050" b="1" smtClean="0">
                <a:solidFill>
                  <a:srgbClr val="373737"/>
                </a:solidFill>
              </a:rPr>
              <a:pPr lvl="1" algn="ctr">
                <a:spcBef>
                  <a:spcPct val="0"/>
                </a:spcBef>
                <a:spcAft>
                  <a:spcPct val="0"/>
                </a:spcAft>
                <a:defRPr/>
              </a:pPr>
              <a:t>Operating</a:t>
            </a:fld>
            <a:endParaRPr kumimoji="0" lang="en-US" sz="1050" b="1" i="0" strike="noStrike" kern="1200" cap="none" spc="0" normalizeH="0" baseline="0" noProof="0">
              <a:ln>
                <a:noFill/>
              </a:ln>
              <a:solidFill>
                <a:srgbClr val="373737"/>
              </a:solidFill>
              <a:effectLst/>
              <a:uLnTx/>
              <a:uFillTx/>
            </a:endParaRPr>
          </a:p>
        </p:txBody>
      </p:sp>
      <p:sp>
        <p:nvSpPr>
          <p:cNvPr id="50" name="Text Placeholder 2">
            <a:extLst>
              <a:ext uri="{FF2B5EF4-FFF2-40B4-BE49-F238E27FC236}">
                <a16:creationId xmlns:a16="http://schemas.microsoft.com/office/drawing/2014/main" id="{A5BF8AA8-5A5E-6770-EA9F-24AE087C94E8}"/>
              </a:ext>
            </a:extLst>
          </p:cNvPr>
          <p:cNvSpPr>
            <a:spLocks noGrp="1"/>
          </p:cNvSpPr>
          <p:nvPr>
            <p:custDataLst>
              <p:tags r:id="rId29"/>
            </p:custDataLst>
          </p:nvPr>
        </p:nvSpPr>
        <p:spPr bwMode="auto">
          <a:xfrm>
            <a:off x="1411288" y="5661025"/>
            <a:ext cx="771525"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D142135D-BA04-405F-9C15-3EEAFD077760}" type="datetime'Un''''''der'''' ''co''n''st''r''uc''t''i''''''''on'">
              <a:rPr lang="en-US" altLang="en-US" sz="1050" b="1" smtClean="0">
                <a:solidFill>
                  <a:srgbClr val="373737"/>
                </a:solidFill>
              </a:rPr>
              <a:pPr lvl="1" algn="ctr">
                <a:spcBef>
                  <a:spcPct val="0"/>
                </a:spcBef>
                <a:spcAft>
                  <a:spcPct val="0"/>
                </a:spcAft>
                <a:defRPr/>
              </a:pPr>
              <a:t>Under construction</a:t>
            </a:fld>
            <a:endParaRPr kumimoji="0" lang="en-US" sz="1050" b="1" i="0" strike="noStrike" kern="1200" cap="none" spc="0" normalizeH="0" baseline="0" noProof="0">
              <a:ln>
                <a:noFill/>
              </a:ln>
              <a:solidFill>
                <a:srgbClr val="373737"/>
              </a:solidFill>
              <a:effectLst/>
              <a:uLnTx/>
              <a:uFillTx/>
            </a:endParaRPr>
          </a:p>
        </p:txBody>
      </p:sp>
      <p:sp>
        <p:nvSpPr>
          <p:cNvPr id="51" name="Text Placeholder 2">
            <a:extLst>
              <a:ext uri="{FF2B5EF4-FFF2-40B4-BE49-F238E27FC236}">
                <a16:creationId xmlns:a16="http://schemas.microsoft.com/office/drawing/2014/main" id="{178BA86E-6352-CB3E-D74B-090BA71BFA1E}"/>
              </a:ext>
            </a:extLst>
          </p:cNvPr>
          <p:cNvSpPr>
            <a:spLocks noGrp="1"/>
          </p:cNvSpPr>
          <p:nvPr>
            <p:custDataLst>
              <p:tags r:id="rId30"/>
            </p:custDataLst>
          </p:nvPr>
        </p:nvSpPr>
        <p:spPr bwMode="auto">
          <a:xfrm>
            <a:off x="2397125" y="5661025"/>
            <a:ext cx="306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r>
              <a:rPr lang="en-US" altLang="en-US" sz="1050" b="1">
                <a:solidFill>
                  <a:srgbClr val="373737"/>
                </a:solidFill>
              </a:rPr>
              <a:t>RTB</a:t>
            </a:r>
            <a:r>
              <a:rPr lang="en-US" altLang="en-US" sz="1050" b="1" baseline="30000">
                <a:solidFill>
                  <a:srgbClr val="373737"/>
                </a:solidFill>
              </a:rPr>
              <a:t>1</a:t>
            </a:r>
            <a:endParaRPr kumimoji="0" lang="en-US" sz="1050" b="1" i="0" strike="noStrike" kern="1200" cap="none" spc="0" normalizeH="0" baseline="30000" noProof="0">
              <a:ln>
                <a:noFill/>
              </a:ln>
              <a:solidFill>
                <a:srgbClr val="373737"/>
              </a:solidFill>
              <a:effectLst/>
              <a:uLnTx/>
              <a:uFillTx/>
            </a:endParaRPr>
          </a:p>
        </p:txBody>
      </p:sp>
      <p:sp>
        <p:nvSpPr>
          <p:cNvPr id="52" name="Text Placeholder 2">
            <a:extLst>
              <a:ext uri="{FF2B5EF4-FFF2-40B4-BE49-F238E27FC236}">
                <a16:creationId xmlns:a16="http://schemas.microsoft.com/office/drawing/2014/main" id="{BC2E3470-FCC3-5B05-6953-85AB2DE75CB1}"/>
              </a:ext>
            </a:extLst>
          </p:cNvPr>
          <p:cNvSpPr>
            <a:spLocks noGrp="1"/>
          </p:cNvSpPr>
          <p:nvPr>
            <p:custDataLst>
              <p:tags r:id="rId31"/>
            </p:custDataLst>
          </p:nvPr>
        </p:nvSpPr>
        <p:spPr bwMode="auto">
          <a:xfrm>
            <a:off x="2995613" y="5661025"/>
            <a:ext cx="60960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58996BF9-67CD-445E-9F14-C9E100944116}" type="datetime'Ad''v''''''''''a''n''''''c''''ed ''''St''''''''''''ag''e'">
              <a:rPr lang="en-US" altLang="en-US" sz="1050" b="1" smtClean="0">
                <a:solidFill>
                  <a:srgbClr val="373737"/>
                </a:solidFill>
              </a:rPr>
              <a:pPr lvl="1" algn="ctr">
                <a:spcBef>
                  <a:spcPct val="0"/>
                </a:spcBef>
                <a:spcAft>
                  <a:spcPct val="0"/>
                </a:spcAft>
                <a:defRPr/>
              </a:pPr>
              <a:t>Advanced Stage</a:t>
            </a:fld>
            <a:endParaRPr kumimoji="0" lang="en-US" sz="1050" b="1" i="0" strike="noStrike" kern="1200" cap="none" spc="0" normalizeH="0" baseline="0" noProof="0">
              <a:ln>
                <a:noFill/>
              </a:ln>
              <a:solidFill>
                <a:srgbClr val="373737"/>
              </a:solidFill>
              <a:effectLst/>
              <a:uLnTx/>
              <a:uFillTx/>
            </a:endParaRPr>
          </a:p>
        </p:txBody>
      </p:sp>
      <p:sp>
        <p:nvSpPr>
          <p:cNvPr id="53" name="Text Placeholder 2">
            <a:extLst>
              <a:ext uri="{FF2B5EF4-FFF2-40B4-BE49-F238E27FC236}">
                <a16:creationId xmlns:a16="http://schemas.microsoft.com/office/drawing/2014/main" id="{0172802F-942F-12E1-E858-1A4D993DC379}"/>
              </a:ext>
            </a:extLst>
          </p:cNvPr>
          <p:cNvSpPr>
            <a:spLocks noGrp="1"/>
          </p:cNvSpPr>
          <p:nvPr>
            <p:custDataLst>
              <p:tags r:id="rId32"/>
            </p:custDataLst>
          </p:nvPr>
        </p:nvSpPr>
        <p:spPr bwMode="auto">
          <a:xfrm>
            <a:off x="3744913" y="5661025"/>
            <a:ext cx="617538"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8F43F25C-65A7-4AE1-846B-6702E297147A}" type="datetime'''Oper''''''''''''a''t''''''''ing'' b''y'' 2''''''0''''2''6'''">
              <a:rPr lang="en-US" altLang="en-US" sz="1050" b="1" smtClean="0"/>
              <a:pPr lvl="1" algn="ctr">
                <a:spcBef>
                  <a:spcPct val="0"/>
                </a:spcBef>
                <a:spcAft>
                  <a:spcPct val="0"/>
                </a:spcAft>
                <a:defRPr/>
              </a:pPr>
              <a:t>Operating by 2026</a:t>
            </a:fld>
            <a:endParaRPr kumimoji="0" lang="en-US" sz="1050" b="1" i="0" strike="noStrike" kern="1200" cap="none" spc="0" normalizeH="0" baseline="0" noProof="0">
              <a:ln>
                <a:noFill/>
              </a:ln>
              <a:effectLst/>
              <a:uLnTx/>
              <a:uFillTx/>
            </a:endParaRPr>
          </a:p>
        </p:txBody>
      </p:sp>
      <p:sp>
        <p:nvSpPr>
          <p:cNvPr id="54" name="Text Placeholder 2">
            <a:extLst>
              <a:ext uri="{FF2B5EF4-FFF2-40B4-BE49-F238E27FC236}">
                <a16:creationId xmlns:a16="http://schemas.microsoft.com/office/drawing/2014/main" id="{12311387-3A3A-46CF-14FB-234BA64733F9}"/>
              </a:ext>
            </a:extLst>
          </p:cNvPr>
          <p:cNvSpPr>
            <a:spLocks noGrp="1"/>
          </p:cNvSpPr>
          <p:nvPr>
            <p:custDataLst>
              <p:tags r:id="rId33"/>
            </p:custDataLst>
          </p:nvPr>
        </p:nvSpPr>
        <p:spPr bwMode="gray">
          <a:xfrm>
            <a:off x="4562475" y="3776663"/>
            <a:ext cx="487363" cy="160338"/>
          </a:xfrm>
          <a:prstGeom prst="rect">
            <a:avLst/>
          </a:prstGeom>
          <a:solidFill>
            <a:schemeClr val="bg1"/>
          </a:solidFill>
          <a:ln>
            <a:noFill/>
          </a:ln>
          <a:effectLst/>
        </p:spPr>
        <p:txBody>
          <a:bodyPr vert="horz" wrap="none" lIns="19050" tIns="0" rIns="1905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r>
              <a:rPr lang="en-US" altLang="en-US" sz="1050" b="1">
                <a:solidFill>
                  <a:srgbClr val="373737"/>
                </a:solidFill>
                <a:effectLst/>
              </a:rPr>
              <a:t>~</a:t>
            </a:r>
            <a:fld id="{4E4DDE5F-9DC2-40B4-BF7E-B046667380A3}" type="datetime'4'''''',''''''6''''''''''''0''''0'''''''''''''''''''''''''''">
              <a:rPr lang="en-US" altLang="en-US" sz="1050" b="1" smtClean="0">
                <a:solidFill>
                  <a:srgbClr val="373737"/>
                </a:solidFill>
                <a:effectLst/>
              </a:rPr>
              <a:pPr lvl="1" algn="ctr">
                <a:spcBef>
                  <a:spcPct val="0"/>
                </a:spcBef>
                <a:spcAft>
                  <a:spcPct val="0"/>
                </a:spcAft>
                <a:defRPr/>
              </a:pPr>
              <a:t>4,600</a:t>
            </a:fld>
            <a:endParaRPr kumimoji="0" lang="en-US" sz="1050" b="1" i="0" strike="noStrike" kern="1200" cap="none" spc="0" normalizeH="0" baseline="0" noProof="0">
              <a:ln>
                <a:noFill/>
              </a:ln>
              <a:solidFill>
                <a:srgbClr val="373737"/>
              </a:solidFill>
              <a:effectLst/>
              <a:uLnTx/>
              <a:uFillTx/>
              <a:ea typeface="+mn-ea"/>
              <a:cs typeface="+mn-cs"/>
            </a:endParaRPr>
          </a:p>
        </p:txBody>
      </p:sp>
      <p:sp>
        <p:nvSpPr>
          <p:cNvPr id="55" name="Text Placeholder 2">
            <a:extLst>
              <a:ext uri="{FF2B5EF4-FFF2-40B4-BE49-F238E27FC236}">
                <a16:creationId xmlns:a16="http://schemas.microsoft.com/office/drawing/2014/main" id="{6C71BDC2-2CF3-59B5-DD09-B0954E405385}"/>
              </a:ext>
            </a:extLst>
          </p:cNvPr>
          <p:cNvSpPr>
            <a:spLocks noGrp="1"/>
          </p:cNvSpPr>
          <p:nvPr>
            <p:custDataLst>
              <p:tags r:id="rId34"/>
            </p:custDataLst>
          </p:nvPr>
        </p:nvSpPr>
        <p:spPr bwMode="auto">
          <a:xfrm>
            <a:off x="4491038" y="5661025"/>
            <a:ext cx="630238"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1DCFFE0A-4F97-40BF-A356-F0769AFD8BA6}" type="datetime'''A''''''dd''''''i''''tio''''''n''''''a''l ''p''''ipeli''n''e'">
              <a:rPr lang="en-US" altLang="en-US" sz="1050" b="1" smtClean="0">
                <a:solidFill>
                  <a:srgbClr val="373737"/>
                </a:solidFill>
              </a:rPr>
              <a:pPr lvl="1" algn="ctr">
                <a:spcBef>
                  <a:spcPct val="0"/>
                </a:spcBef>
                <a:spcAft>
                  <a:spcPct val="0"/>
                </a:spcAft>
                <a:defRPr/>
              </a:pPr>
              <a:t>Additional pipeline</a:t>
            </a:fld>
            <a:endParaRPr kumimoji="0" lang="en-US" sz="1050" b="1" i="0" strike="noStrike" kern="1200" cap="none" spc="0" normalizeH="0" baseline="0" noProof="0">
              <a:ln>
                <a:noFill/>
              </a:ln>
              <a:solidFill>
                <a:srgbClr val="373737"/>
              </a:solidFill>
              <a:effectLst/>
              <a:uLnTx/>
              <a:uFillTx/>
            </a:endParaRPr>
          </a:p>
        </p:txBody>
      </p:sp>
      <p:sp>
        <p:nvSpPr>
          <p:cNvPr id="56" name="Text Placeholder 2">
            <a:extLst>
              <a:ext uri="{FF2B5EF4-FFF2-40B4-BE49-F238E27FC236}">
                <a16:creationId xmlns:a16="http://schemas.microsoft.com/office/drawing/2014/main" id="{C885CCCE-26FD-E2C4-CA74-4F60A6AAB713}"/>
              </a:ext>
            </a:extLst>
          </p:cNvPr>
          <p:cNvSpPr>
            <a:spLocks noGrp="1"/>
          </p:cNvSpPr>
          <p:nvPr>
            <p:custDataLst>
              <p:tags r:id="rId35"/>
            </p:custDataLst>
          </p:nvPr>
        </p:nvSpPr>
        <p:spPr bwMode="gray">
          <a:xfrm>
            <a:off x="896938" y="5172075"/>
            <a:ext cx="29527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9C40F9DA-7BC9-4213-88E7-A1EF8AF30BE5}" type="datetime'''''''4''''''''''''''''''''''9''''''''''''''''''''''''''4'">
              <a:rPr lang="en-US" altLang="en-US" sz="1050" b="1" smtClean="0">
                <a:solidFill>
                  <a:srgbClr val="373737"/>
                </a:solidFill>
              </a:rPr>
              <a:pPr lvl="1" algn="ctr">
                <a:spcBef>
                  <a:spcPct val="0"/>
                </a:spcBef>
                <a:spcAft>
                  <a:spcPct val="0"/>
                </a:spcAft>
                <a:defRPr/>
              </a:pPr>
              <a:t>494</a:t>
            </a:fld>
            <a:endParaRPr kumimoji="0" lang="en-US" sz="1050" b="1" i="0" strike="noStrike" kern="1200" cap="none" spc="0" normalizeH="0" baseline="0" noProof="0">
              <a:ln>
                <a:noFill/>
              </a:ln>
              <a:solidFill>
                <a:srgbClr val="373737"/>
              </a:solidFill>
              <a:effectLst/>
              <a:uLnTx/>
              <a:uFillTx/>
            </a:endParaRPr>
          </a:p>
        </p:txBody>
      </p:sp>
      <p:sp>
        <p:nvSpPr>
          <p:cNvPr id="157" name="Text Placeholder 2">
            <a:extLst>
              <a:ext uri="{FF2B5EF4-FFF2-40B4-BE49-F238E27FC236}">
                <a16:creationId xmlns:a16="http://schemas.microsoft.com/office/drawing/2014/main" id="{DFABD2B5-E255-72D3-605E-7CBB15F574C6}"/>
              </a:ext>
            </a:extLst>
          </p:cNvPr>
          <p:cNvSpPr>
            <a:spLocks noGrp="1"/>
          </p:cNvSpPr>
          <p:nvPr>
            <p:custDataLst>
              <p:tags r:id="rId36"/>
            </p:custDataLst>
          </p:nvPr>
        </p:nvSpPr>
        <p:spPr bwMode="gray">
          <a:xfrm>
            <a:off x="1682750" y="5008563"/>
            <a:ext cx="2301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fld id="{7FD90B5B-AB6F-437D-8517-A74BE3A1C82C}" type="datetime'''''''''''''''''''3''''''''''''''''''''1''1'''''''''''''">
              <a:rPr lang="en-US" altLang="en-US" sz="1050" b="1" smtClean="0">
                <a:solidFill>
                  <a:srgbClr val="373737"/>
                </a:solidFill>
              </a:rPr>
              <a:pPr lvl="1" algn="ctr">
                <a:spcBef>
                  <a:spcPct val="0"/>
                </a:spcBef>
                <a:spcAft>
                  <a:spcPct val="0"/>
                </a:spcAft>
              </a:pPr>
              <a:t>311</a:t>
            </a:fld>
            <a:endParaRPr lang="en-US" sz="1050" b="1" noProof="0">
              <a:solidFill>
                <a:srgbClr val="373737"/>
              </a:solidFill>
            </a:endParaRPr>
          </a:p>
        </p:txBody>
      </p:sp>
      <p:sp>
        <p:nvSpPr>
          <p:cNvPr id="58" name="Text Placeholder 2">
            <a:extLst>
              <a:ext uri="{FF2B5EF4-FFF2-40B4-BE49-F238E27FC236}">
                <a16:creationId xmlns:a16="http://schemas.microsoft.com/office/drawing/2014/main" id="{2B41A347-3870-B8BD-DEC6-522C23AE84E5}"/>
              </a:ext>
            </a:extLst>
          </p:cNvPr>
          <p:cNvSpPr>
            <a:spLocks noGrp="1"/>
          </p:cNvSpPr>
          <p:nvPr>
            <p:custDataLst>
              <p:tags r:id="rId37"/>
            </p:custDataLst>
          </p:nvPr>
        </p:nvSpPr>
        <p:spPr bwMode="gray">
          <a:xfrm>
            <a:off x="3816350" y="4876800"/>
            <a:ext cx="4746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ctr" defTabSz="914400" eaLnBrk="1" fontAlgn="auto" latinLnBrk="0" hangingPunct="1">
              <a:lnSpc>
                <a:spcPct val="100000"/>
              </a:lnSpc>
              <a:spcBef>
                <a:spcPct val="0"/>
              </a:spcBef>
              <a:spcAft>
                <a:spcPct val="0"/>
              </a:spcAft>
              <a:buClrTx/>
              <a:buSzTx/>
              <a:buFont typeface="Arial" panose="020B0604020202020204" pitchFamily="34" charset="0"/>
              <a:buNone/>
              <a:tabLst/>
              <a:defRPr/>
            </a:pPr>
            <a:r>
              <a:rPr lang="el-GR" sz="1050" b="1">
                <a:solidFill>
                  <a:srgbClr val="373737"/>
                </a:solidFill>
                <a:latin typeface="The Wave Sans TT"/>
              </a:rPr>
              <a:t>~</a:t>
            </a:r>
            <a:r>
              <a:rPr lang="en-US" sz="1050" b="1">
                <a:solidFill>
                  <a:srgbClr val="373737"/>
                </a:solidFill>
                <a:latin typeface="The Wave Sans TT"/>
              </a:rPr>
              <a:t> 1,</a:t>
            </a:r>
            <a:r>
              <a:rPr lang="el-GR" sz="1050" b="1">
                <a:solidFill>
                  <a:srgbClr val="373737"/>
                </a:solidFill>
                <a:latin typeface="The Wave Sans TT"/>
              </a:rPr>
              <a:t>050</a:t>
            </a:r>
            <a:endParaRPr kumimoji="0" lang="en-US" sz="1050" b="1" i="0" u="none" strike="noStrike" kern="1200" cap="none" spc="0" normalizeH="0" baseline="0" noProof="0">
              <a:ln>
                <a:noFill/>
              </a:ln>
              <a:solidFill>
                <a:srgbClr val="373737"/>
              </a:solidFill>
              <a:effectLst/>
              <a:uLnTx/>
              <a:uFillTx/>
              <a:latin typeface="The Wave Sans TT"/>
              <a:ea typeface="+mn-ea"/>
              <a:cs typeface="+mn-cs"/>
            </a:endParaRPr>
          </a:p>
        </p:txBody>
      </p:sp>
      <p:graphicFrame>
        <p:nvGraphicFramePr>
          <p:cNvPr id="20" name="Chart 19">
            <a:extLst>
              <a:ext uri="{FF2B5EF4-FFF2-40B4-BE49-F238E27FC236}">
                <a16:creationId xmlns:a16="http://schemas.microsoft.com/office/drawing/2014/main" id="{D7EBDFDD-E4A5-5EFA-CD0D-185253CA56E7}"/>
              </a:ext>
            </a:extLst>
          </p:cNvPr>
          <p:cNvGraphicFramePr/>
          <p:nvPr>
            <p:custDataLst>
              <p:tags r:id="rId38"/>
            </p:custDataLst>
          </p:nvPr>
        </p:nvGraphicFramePr>
        <p:xfrm>
          <a:off x="5099050" y="3925888"/>
          <a:ext cx="923925" cy="1773237"/>
        </p:xfrm>
        <a:graphic>
          <a:graphicData uri="http://schemas.openxmlformats.org/drawingml/2006/chart">
            <c:chart xmlns:c="http://schemas.openxmlformats.org/drawingml/2006/chart" xmlns:r="http://schemas.openxmlformats.org/officeDocument/2006/relationships" r:id="rId65"/>
          </a:graphicData>
        </a:graphic>
      </p:graphicFrame>
      <p:sp>
        <p:nvSpPr>
          <p:cNvPr id="60" name="Text Placeholder 2">
            <a:extLst>
              <a:ext uri="{FF2B5EF4-FFF2-40B4-BE49-F238E27FC236}">
                <a16:creationId xmlns:a16="http://schemas.microsoft.com/office/drawing/2014/main" id="{F196D0B4-2A79-8799-54E3-27910447BC43}"/>
              </a:ext>
            </a:extLst>
          </p:cNvPr>
          <p:cNvSpPr>
            <a:spLocks noGrp="1"/>
          </p:cNvSpPr>
          <p:nvPr>
            <p:custDataLst>
              <p:tags r:id="rId39"/>
            </p:custDataLst>
          </p:nvPr>
        </p:nvSpPr>
        <p:spPr bwMode="auto">
          <a:xfrm>
            <a:off x="5354638" y="5661025"/>
            <a:ext cx="412750"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defRPr/>
            </a:pPr>
            <a:fld id="{119AE830-7F0D-4284-8092-4E85293AB022}" type="datetime'''''''''''2''030 Ta''''''''rg''''e''''''''''''''''''''''t'''">
              <a:rPr lang="en-US" altLang="en-US" sz="1050" b="1" smtClean="0">
                <a:solidFill>
                  <a:srgbClr val="373737"/>
                </a:solidFill>
              </a:rPr>
              <a:pPr lvl="1" algn="ctr">
                <a:spcBef>
                  <a:spcPct val="0"/>
                </a:spcBef>
                <a:spcAft>
                  <a:spcPct val="0"/>
                </a:spcAft>
                <a:defRPr/>
              </a:pPr>
              <a:t>2030 Target</a:t>
            </a:fld>
            <a:endParaRPr kumimoji="0" lang="en-US" sz="1050" b="1" i="0" strike="noStrike" kern="1200" cap="none" spc="0" normalizeH="0" baseline="0" noProof="0">
              <a:ln>
                <a:noFill/>
              </a:ln>
              <a:solidFill>
                <a:srgbClr val="373737"/>
              </a:solidFill>
              <a:effectLst/>
              <a:uLnTx/>
              <a:uFillTx/>
            </a:endParaRPr>
          </a:p>
        </p:txBody>
      </p:sp>
      <p:sp>
        <p:nvSpPr>
          <p:cNvPr id="40" name="Text Placeholder 2">
            <a:extLst>
              <a:ext uri="{FF2B5EF4-FFF2-40B4-BE49-F238E27FC236}">
                <a16:creationId xmlns:a16="http://schemas.microsoft.com/office/drawing/2014/main" id="{DFABD2B5-E255-72D3-605E-7CBB15F574C6}"/>
              </a:ext>
            </a:extLst>
          </p:cNvPr>
          <p:cNvSpPr>
            <a:spLocks noGrp="1"/>
          </p:cNvSpPr>
          <p:nvPr>
            <p:custDataLst>
              <p:tags r:id="rId40"/>
            </p:custDataLst>
          </p:nvPr>
        </p:nvSpPr>
        <p:spPr bwMode="gray">
          <a:xfrm>
            <a:off x="5321300" y="3822700"/>
            <a:ext cx="4810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rtlCol="0" anchor="b">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lgn="ctr">
              <a:spcBef>
                <a:spcPct val="0"/>
              </a:spcBef>
              <a:spcAft>
                <a:spcPct val="0"/>
              </a:spcAft>
            </a:pPr>
            <a:r>
              <a:rPr lang="en-US" altLang="en-US" sz="1050" b="1">
                <a:effectLst/>
              </a:rPr>
              <a:t>~</a:t>
            </a:r>
            <a:fld id="{E2B0038F-CC52-4521-BC50-78C588D05B0D}" type="datetime'2'''''''',''''00''''''''''''''''''''''0'''''''''''''''''">
              <a:rPr lang="en-US" altLang="en-US" sz="1050" b="1" smtClean="0">
                <a:effectLst/>
              </a:rPr>
              <a:pPr lvl="1" algn="ctr">
                <a:spcBef>
                  <a:spcPct val="0"/>
                </a:spcBef>
                <a:spcAft>
                  <a:spcPct val="0"/>
                </a:spcAft>
              </a:pPr>
              <a:t>2,000</a:t>
            </a:fld>
            <a:endParaRPr lang="en-US" sz="1050" b="1" noProof="0"/>
          </a:p>
        </p:txBody>
      </p:sp>
      <p:sp>
        <p:nvSpPr>
          <p:cNvPr id="67" name="Rectangle 66">
            <a:extLst>
              <a:ext uri="{FF2B5EF4-FFF2-40B4-BE49-F238E27FC236}">
                <a16:creationId xmlns:a16="http://schemas.microsoft.com/office/drawing/2014/main" id="{59FF65A8-2F33-B0BD-540B-1E6AA7B69AAB}"/>
              </a:ext>
            </a:extLst>
          </p:cNvPr>
          <p:cNvSpPr/>
          <p:nvPr/>
        </p:nvSpPr>
        <p:spPr>
          <a:xfrm>
            <a:off x="4598982" y="3925888"/>
            <a:ext cx="420624" cy="1143564"/>
          </a:xfrm>
          <a:prstGeom prst="rect">
            <a:avLst/>
          </a:prstGeom>
          <a:solidFill>
            <a:srgbClr val="7E7E7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solidFill>
                <a:srgbClr val="373737"/>
              </a:solidFill>
              <a:effectLst/>
              <a:uLnTx/>
              <a:uFillTx/>
              <a:latin typeface="The Wave Sans TT"/>
              <a:ea typeface="+mn-ea"/>
              <a:cs typeface="+mn-cs"/>
            </a:endParaRPr>
          </a:p>
        </p:txBody>
      </p:sp>
      <p:sp>
        <p:nvSpPr>
          <p:cNvPr id="68" name="Rectangle 67">
            <a:extLst>
              <a:ext uri="{FF2B5EF4-FFF2-40B4-BE49-F238E27FC236}">
                <a16:creationId xmlns:a16="http://schemas.microsoft.com/office/drawing/2014/main" id="{7CD93BB2-8113-AE3A-6D3A-5BEB8D27DE06}"/>
              </a:ext>
            </a:extLst>
          </p:cNvPr>
          <p:cNvSpPr/>
          <p:nvPr>
            <p:custDataLst>
              <p:tags r:id="rId41"/>
            </p:custDataLst>
          </p:nvPr>
        </p:nvSpPr>
        <p:spPr bwMode="auto">
          <a:xfrm>
            <a:off x="719138" y="2706688"/>
            <a:ext cx="179388" cy="1333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solidFill>
                <a:srgbClr val="373737"/>
              </a:solidFill>
              <a:effectLst/>
              <a:uLnTx/>
              <a:uFillTx/>
              <a:latin typeface="The Wave Sans TT"/>
              <a:ea typeface="+mn-ea"/>
              <a:cs typeface="+mn-cs"/>
            </a:endParaRPr>
          </a:p>
        </p:txBody>
      </p:sp>
      <p:sp>
        <p:nvSpPr>
          <p:cNvPr id="69" name="Rectangle 68">
            <a:extLst>
              <a:ext uri="{FF2B5EF4-FFF2-40B4-BE49-F238E27FC236}">
                <a16:creationId xmlns:a16="http://schemas.microsoft.com/office/drawing/2014/main" id="{2F9252E2-0019-DE57-696E-04671074B464}"/>
              </a:ext>
            </a:extLst>
          </p:cNvPr>
          <p:cNvSpPr/>
          <p:nvPr>
            <p:custDataLst>
              <p:tags r:id="rId42"/>
            </p:custDataLst>
          </p:nvPr>
        </p:nvSpPr>
        <p:spPr bwMode="auto">
          <a:xfrm>
            <a:off x="719138" y="2909888"/>
            <a:ext cx="179388" cy="133350"/>
          </a:xfrm>
          <a:prstGeom prst="rect">
            <a:avLst/>
          </a:prstGeom>
          <a:solidFill>
            <a:schemeClr val="accent3"/>
          </a:solidFill>
          <a:ln w="9525" cap="flat" cmpd="sng" algn="ctr">
            <a:noFill/>
            <a:prstDash val="lgDash"/>
            <a:miter lim="800000"/>
          </a:ln>
          <a:effectLst/>
          <a:extLst>
            <a:ext uri="{91240B29-F687-4F45-9708-019B960494DF}">
              <a14:hiddenLine xmlns:a14="http://schemas.microsoft.com/office/drawing/2010/main" w="9525" cap="flat" cmpd="sng" algn="ctr">
                <a:solidFill>
                  <a:schemeClr val="tx1"/>
                </a:solidFill>
                <a:prstDash val="lgDash"/>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solidFill>
                <a:srgbClr val="373737"/>
              </a:solidFill>
              <a:effectLst/>
              <a:uLnTx/>
              <a:uFillTx/>
              <a:latin typeface="The Wave Sans TT"/>
              <a:ea typeface="+mn-ea"/>
              <a:cs typeface="+mn-cs"/>
            </a:endParaRPr>
          </a:p>
        </p:txBody>
      </p:sp>
      <p:sp>
        <p:nvSpPr>
          <p:cNvPr id="70" name="Rectangle 69">
            <a:extLst>
              <a:ext uri="{FF2B5EF4-FFF2-40B4-BE49-F238E27FC236}">
                <a16:creationId xmlns:a16="http://schemas.microsoft.com/office/drawing/2014/main" id="{0399DEE6-C6B9-1E16-6E79-7735BAAE9F34}"/>
              </a:ext>
            </a:extLst>
          </p:cNvPr>
          <p:cNvSpPr/>
          <p:nvPr>
            <p:custDataLst>
              <p:tags r:id="rId43"/>
            </p:custDataLst>
          </p:nvPr>
        </p:nvSpPr>
        <p:spPr bwMode="auto">
          <a:xfrm>
            <a:off x="719138" y="3113088"/>
            <a:ext cx="179388" cy="133350"/>
          </a:xfrm>
          <a:prstGeom prst="rect">
            <a:avLst/>
          </a:prstGeom>
          <a:solidFill>
            <a:schemeClr val="accent5"/>
          </a:solidFill>
          <a:ln w="9525" cap="flat" cmpd="sng" algn="ctr">
            <a:noFill/>
            <a:prstDash val="dash"/>
            <a:miter lim="800000"/>
          </a:ln>
          <a:effectLst/>
          <a:extLst>
            <a:ext uri="{91240B29-F687-4F45-9708-019B960494DF}">
              <a14:hiddenLine xmlns:a14="http://schemas.microsoft.com/office/drawing/2010/main" w="9525" cap="flat" cmpd="sng" algn="ctr">
                <a:solidFill>
                  <a:schemeClr val="tx1"/>
                </a:solidFill>
                <a:prstDash val="dash"/>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US" sz="1600" b="0" i="0" u="none" strike="noStrike" kern="1200" cap="none" spc="0" normalizeH="0" baseline="0" noProof="0">
              <a:ln>
                <a:noFill/>
              </a:ln>
              <a:solidFill>
                <a:srgbClr val="373737"/>
              </a:solidFill>
              <a:effectLst/>
              <a:uLnTx/>
              <a:uFillTx/>
              <a:latin typeface="The Wave Sans TT"/>
              <a:ea typeface="+mn-ea"/>
              <a:cs typeface="+mn-cs"/>
            </a:endParaRPr>
          </a:p>
        </p:txBody>
      </p:sp>
      <p:sp>
        <p:nvSpPr>
          <p:cNvPr id="71" name="Text Placeholder 2">
            <a:extLst>
              <a:ext uri="{FF2B5EF4-FFF2-40B4-BE49-F238E27FC236}">
                <a16:creationId xmlns:a16="http://schemas.microsoft.com/office/drawing/2014/main" id="{84199502-2051-3F71-A8C6-420ADD1CC28C}"/>
              </a:ext>
            </a:extLst>
          </p:cNvPr>
          <p:cNvSpPr>
            <a:spLocks noGrp="1"/>
          </p:cNvSpPr>
          <p:nvPr>
            <p:custDataLst>
              <p:tags r:id="rId44"/>
            </p:custDataLst>
          </p:nvPr>
        </p:nvSpPr>
        <p:spPr bwMode="auto">
          <a:xfrm>
            <a:off x="949325" y="2701925"/>
            <a:ext cx="3032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1102610D-2D19-4D48-A993-E3246A251559}" type="datetime'W''''''''''''i''''''''''nd'''''">
              <a:rPr lang="en-US" altLang="en-US" sz="1000" b="1" smtClean="0">
                <a:solidFill>
                  <a:srgbClr val="373737"/>
                </a:solidFill>
              </a:rPr>
              <a:pPr lvl="1">
                <a:spcBef>
                  <a:spcPct val="0"/>
                </a:spcBef>
                <a:spcAft>
                  <a:spcPct val="0"/>
                </a:spcAft>
                <a:defRPr/>
              </a:pPr>
              <a:t>Wind</a:t>
            </a:fld>
            <a:endParaRPr kumimoji="0" lang="en-US" sz="1000" b="1" i="0" strike="noStrike" kern="1200" cap="none" spc="0" normalizeH="0" baseline="0" noProof="0">
              <a:ln>
                <a:noFill/>
              </a:ln>
              <a:solidFill>
                <a:srgbClr val="373737"/>
              </a:solidFill>
              <a:effectLst/>
              <a:uLnTx/>
              <a:uFillTx/>
            </a:endParaRPr>
          </a:p>
        </p:txBody>
      </p:sp>
      <p:sp>
        <p:nvSpPr>
          <p:cNvPr id="72" name="Text Placeholder 2">
            <a:extLst>
              <a:ext uri="{FF2B5EF4-FFF2-40B4-BE49-F238E27FC236}">
                <a16:creationId xmlns:a16="http://schemas.microsoft.com/office/drawing/2014/main" id="{FEFBCFA8-F4DC-38E0-B680-8DB316C6C0A4}"/>
              </a:ext>
            </a:extLst>
          </p:cNvPr>
          <p:cNvSpPr>
            <a:spLocks noGrp="1"/>
          </p:cNvSpPr>
          <p:nvPr>
            <p:custDataLst>
              <p:tags r:id="rId45"/>
            </p:custDataLst>
          </p:nvPr>
        </p:nvSpPr>
        <p:spPr bwMode="auto">
          <a:xfrm>
            <a:off x="949325" y="2905125"/>
            <a:ext cx="1666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r>
              <a:rPr lang="en-US" altLang="en-US" sz="1000" b="1">
                <a:solidFill>
                  <a:srgbClr val="373737"/>
                </a:solidFill>
              </a:rPr>
              <a:t>PV</a:t>
            </a:r>
            <a:endParaRPr kumimoji="0" lang="en-US" sz="1000" b="1" i="0" strike="noStrike" kern="1200" cap="none" spc="0" normalizeH="0" baseline="0" noProof="0">
              <a:ln>
                <a:noFill/>
              </a:ln>
              <a:solidFill>
                <a:srgbClr val="373737"/>
              </a:solidFill>
              <a:effectLst/>
              <a:uLnTx/>
              <a:uFillTx/>
            </a:endParaRPr>
          </a:p>
        </p:txBody>
      </p:sp>
      <p:sp>
        <p:nvSpPr>
          <p:cNvPr id="73" name="Text Placeholder 2">
            <a:extLst>
              <a:ext uri="{FF2B5EF4-FFF2-40B4-BE49-F238E27FC236}">
                <a16:creationId xmlns:a16="http://schemas.microsoft.com/office/drawing/2014/main" id="{7F48AD57-3B70-960A-FD0A-664053DA01DB}"/>
              </a:ext>
            </a:extLst>
          </p:cNvPr>
          <p:cNvSpPr>
            <a:spLocks noGrp="1"/>
          </p:cNvSpPr>
          <p:nvPr>
            <p:custDataLst>
              <p:tags r:id="rId46"/>
            </p:custDataLst>
          </p:nvPr>
        </p:nvSpPr>
        <p:spPr bwMode="auto">
          <a:xfrm>
            <a:off x="949325" y="3108325"/>
            <a:ext cx="3111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r>
              <a:rPr lang="en-US" altLang="en-US" sz="1000" b="1">
                <a:solidFill>
                  <a:srgbClr val="373737"/>
                </a:solidFill>
              </a:rPr>
              <a:t>BESS</a:t>
            </a:r>
          </a:p>
        </p:txBody>
      </p:sp>
      <p:sp>
        <p:nvSpPr>
          <p:cNvPr id="77" name="Rectangle 76">
            <a:extLst>
              <a:ext uri="{FF2B5EF4-FFF2-40B4-BE49-F238E27FC236}">
                <a16:creationId xmlns:a16="http://schemas.microsoft.com/office/drawing/2014/main" id="{062CD337-17C0-7BF3-8ACB-CC50416AFABF}"/>
              </a:ext>
            </a:extLst>
          </p:cNvPr>
          <p:cNvSpPr/>
          <p:nvPr/>
        </p:nvSpPr>
        <p:spPr>
          <a:xfrm>
            <a:off x="657709" y="2176540"/>
            <a:ext cx="731062" cy="255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lnSpc>
                <a:spcPct val="100000"/>
              </a:lnSpc>
              <a:spcBef>
                <a:spcPts val="600"/>
              </a:spcBef>
              <a:buClr>
                <a:schemeClr val="accent1"/>
              </a:buClr>
            </a:pPr>
            <a:r>
              <a:rPr lang="en-US" sz="1000" b="1">
                <a:solidFill>
                  <a:schemeClr val="tx1"/>
                </a:solidFill>
              </a:rPr>
              <a:t>in MW</a:t>
            </a:r>
          </a:p>
        </p:txBody>
      </p:sp>
      <p:sp>
        <p:nvSpPr>
          <p:cNvPr id="5" name="Rectangle 4">
            <a:extLst>
              <a:ext uri="{FF2B5EF4-FFF2-40B4-BE49-F238E27FC236}">
                <a16:creationId xmlns:a16="http://schemas.microsoft.com/office/drawing/2014/main" id="{334DFDF5-418B-4BE9-BC70-2167BBDC69FB}"/>
              </a:ext>
            </a:extLst>
          </p:cNvPr>
          <p:cNvSpPr/>
          <p:nvPr/>
        </p:nvSpPr>
        <p:spPr>
          <a:xfrm>
            <a:off x="1335634" y="6281035"/>
            <a:ext cx="10081120" cy="338554"/>
          </a:xfrm>
          <a:prstGeom prst="rect">
            <a:avLst/>
          </a:prstGeom>
        </p:spPr>
        <p:txBody>
          <a:bodyPr/>
          <a:lstStyle/>
          <a:p>
            <a:r>
              <a:rPr lang="en-GB" sz="700"/>
              <a:t>Notes: </a:t>
            </a:r>
            <a:r>
              <a:rPr kumimoji="0" lang="en-US" sz="700" b="0" i="0" u="none" strike="noStrike" kern="1200" cap="none" spc="0" normalizeH="0" baseline="30000" noProof="0">
                <a:ln>
                  <a:noFill/>
                </a:ln>
                <a:solidFill>
                  <a:srgbClr val="373737"/>
                </a:solidFill>
                <a:effectLst/>
                <a:uLnTx/>
                <a:uFillTx/>
                <a:latin typeface="The Wave Sans TT (Body)"/>
                <a:sym typeface="Arial" panose="020B0604020202020204" pitchFamily="34" charset="0"/>
              </a:rPr>
              <a:t>1</a:t>
            </a:r>
            <a:r>
              <a:rPr kumimoji="0" lang="en-US" sz="700" b="0" i="0" u="none" strike="noStrike" kern="1200" cap="none" spc="0" normalizeH="0" baseline="0" noProof="0">
                <a:ln>
                  <a:noFill/>
                </a:ln>
                <a:solidFill>
                  <a:srgbClr val="373737"/>
                </a:solidFill>
                <a:effectLst/>
                <a:uLnTx/>
                <a:uFillTx/>
                <a:latin typeface="The Wave Sans TT (Body)"/>
                <a:sym typeface="Arial" panose="020B0604020202020204" pitchFamily="34" charset="0"/>
              </a:rPr>
              <a:t> RTB : Ready-To-Build</a:t>
            </a:r>
            <a:endParaRPr lang="en-GB" sz="700"/>
          </a:p>
        </p:txBody>
      </p:sp>
      <p:sp>
        <p:nvSpPr>
          <p:cNvPr id="7" name="Slide Number Placeholder 3">
            <a:extLst>
              <a:ext uri="{FF2B5EF4-FFF2-40B4-BE49-F238E27FC236}">
                <a16:creationId xmlns:a16="http://schemas.microsoft.com/office/drawing/2014/main" id="{C3DB38FD-59C0-2F02-9B13-0975335BD895}"/>
              </a:ext>
            </a:extLst>
          </p:cNvPr>
          <p:cNvSpPr txBox="1">
            <a:spLocks/>
          </p:cNvSpPr>
          <p:nvPr/>
        </p:nvSpPr>
        <p:spPr>
          <a:xfrm>
            <a:off x="443372" y="6265688"/>
            <a:ext cx="355788" cy="14716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31D9DC-ADF0-4D0A-8902-0133E3C6D94B}" type="slidenum">
              <a:rPr lang="en-US" sz="1000" smtClean="0">
                <a:solidFill>
                  <a:schemeClr val="accent1"/>
                </a:solidFill>
              </a:rPr>
              <a:pPr/>
              <a:t>41</a:t>
            </a:fld>
            <a:endParaRPr lang="en-US" sz="1000">
              <a:solidFill>
                <a:schemeClr val="accent1"/>
              </a:solidFill>
            </a:endParaRPr>
          </a:p>
        </p:txBody>
      </p:sp>
      <p:sp>
        <p:nvSpPr>
          <p:cNvPr id="33" name="TextBox 32">
            <a:extLst>
              <a:ext uri="{FF2B5EF4-FFF2-40B4-BE49-F238E27FC236}">
                <a16:creationId xmlns:a16="http://schemas.microsoft.com/office/drawing/2014/main" id="{786B885E-E637-4AF8-BCC2-F09CA04C9251}"/>
              </a:ext>
            </a:extLst>
          </p:cNvPr>
          <p:cNvSpPr txBox="1"/>
          <p:nvPr/>
        </p:nvSpPr>
        <p:spPr>
          <a:xfrm>
            <a:off x="1171306" y="4530588"/>
            <a:ext cx="1192214" cy="184666"/>
          </a:xfrm>
          <a:prstGeom prst="rect">
            <a:avLst/>
          </a:prstGeom>
          <a:noFill/>
        </p:spPr>
        <p:txBody>
          <a:bodyPr wrap="square" lIns="0" tIns="0" rIns="0" bIns="0" rtlCol="0">
            <a:spAutoFit/>
          </a:bodyPr>
          <a:lstStyle/>
          <a:p>
            <a:pPr algn="ctr">
              <a:lnSpc>
                <a:spcPct val="100000"/>
              </a:lnSpc>
              <a:spcBef>
                <a:spcPts val="600"/>
              </a:spcBef>
              <a:buClr>
                <a:schemeClr val="accent1"/>
              </a:buClr>
            </a:pPr>
            <a:r>
              <a:rPr lang="en-US" sz="1200" b="1">
                <a:solidFill>
                  <a:schemeClr val="tx1"/>
                </a:solidFill>
              </a:rPr>
              <a:t>~1 GW</a:t>
            </a:r>
          </a:p>
        </p:txBody>
      </p:sp>
      <p:sp>
        <p:nvSpPr>
          <p:cNvPr id="21" name="Rectangle 20">
            <a:extLst>
              <a:ext uri="{FF2B5EF4-FFF2-40B4-BE49-F238E27FC236}">
                <a16:creationId xmlns:a16="http://schemas.microsoft.com/office/drawing/2014/main" id="{288DE69D-340F-4DA3-BD3F-1033F63D2AAC}"/>
              </a:ext>
            </a:extLst>
          </p:cNvPr>
          <p:cNvSpPr/>
          <p:nvPr>
            <p:custDataLst>
              <p:tags r:id="rId47"/>
            </p:custDataLst>
          </p:nvPr>
        </p:nvSpPr>
        <p:spPr bwMode="auto">
          <a:xfrm>
            <a:off x="6321425" y="5805488"/>
            <a:ext cx="160338" cy="1206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a:solidFill>
                <a:schemeClr val="tx1"/>
              </a:solidFill>
            </a:endParaRPr>
          </a:p>
        </p:txBody>
      </p:sp>
      <p:sp>
        <p:nvSpPr>
          <p:cNvPr id="22" name="Rectangle 21">
            <a:extLst>
              <a:ext uri="{FF2B5EF4-FFF2-40B4-BE49-F238E27FC236}">
                <a16:creationId xmlns:a16="http://schemas.microsoft.com/office/drawing/2014/main" id="{72C1C9C9-9AB1-4C76-858F-3AA373EB4059}"/>
              </a:ext>
            </a:extLst>
          </p:cNvPr>
          <p:cNvSpPr/>
          <p:nvPr>
            <p:custDataLst>
              <p:tags r:id="rId48"/>
            </p:custDataLst>
          </p:nvPr>
        </p:nvSpPr>
        <p:spPr bwMode="auto">
          <a:xfrm>
            <a:off x="6321425" y="5992813"/>
            <a:ext cx="160338" cy="1206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a:solidFill>
                <a:schemeClr val="tx1"/>
              </a:solidFill>
            </a:endParaRPr>
          </a:p>
        </p:txBody>
      </p:sp>
      <p:sp>
        <p:nvSpPr>
          <p:cNvPr id="23" name="Rectangle 22">
            <a:extLst>
              <a:ext uri="{FF2B5EF4-FFF2-40B4-BE49-F238E27FC236}">
                <a16:creationId xmlns:a16="http://schemas.microsoft.com/office/drawing/2014/main" id="{A1AC94C2-8CFA-4907-B15F-70C8DEC5E357}"/>
              </a:ext>
            </a:extLst>
          </p:cNvPr>
          <p:cNvSpPr/>
          <p:nvPr>
            <p:custDataLst>
              <p:tags r:id="rId49"/>
            </p:custDataLst>
          </p:nvPr>
        </p:nvSpPr>
        <p:spPr bwMode="auto">
          <a:xfrm>
            <a:off x="6321425" y="6180138"/>
            <a:ext cx="160338" cy="12065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a:solidFill>
                <a:schemeClr val="tx1"/>
              </a:solidFill>
            </a:endParaRPr>
          </a:p>
        </p:txBody>
      </p:sp>
      <p:sp>
        <p:nvSpPr>
          <p:cNvPr id="188" name="Rectangle 187">
            <a:extLst>
              <a:ext uri="{FF2B5EF4-FFF2-40B4-BE49-F238E27FC236}">
                <a16:creationId xmlns:a16="http://schemas.microsoft.com/office/drawing/2014/main" id="{AE272EEF-97B2-2FEF-57BD-09B2E1001E7F}"/>
              </a:ext>
            </a:extLst>
          </p:cNvPr>
          <p:cNvSpPr/>
          <p:nvPr>
            <p:custDataLst>
              <p:tags r:id="rId50"/>
            </p:custDataLst>
          </p:nvPr>
        </p:nvSpPr>
        <p:spPr bwMode="auto">
          <a:xfrm>
            <a:off x="6911975" y="5805488"/>
            <a:ext cx="160338" cy="1206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a:solidFill>
                <a:schemeClr val="tx1"/>
              </a:solidFill>
            </a:endParaRPr>
          </a:p>
        </p:txBody>
      </p:sp>
      <p:sp>
        <p:nvSpPr>
          <p:cNvPr id="24" name="Rectangle 23">
            <a:extLst>
              <a:ext uri="{FF2B5EF4-FFF2-40B4-BE49-F238E27FC236}">
                <a16:creationId xmlns:a16="http://schemas.microsoft.com/office/drawing/2014/main" id="{A9C41AAB-0313-489B-AFB2-266B39D4AF15}"/>
              </a:ext>
            </a:extLst>
          </p:cNvPr>
          <p:cNvSpPr/>
          <p:nvPr>
            <p:custDataLst>
              <p:tags r:id="rId51"/>
            </p:custDataLst>
          </p:nvPr>
        </p:nvSpPr>
        <p:spPr bwMode="auto">
          <a:xfrm>
            <a:off x="6911975" y="5992813"/>
            <a:ext cx="160338" cy="12065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a:solidFill>
                <a:schemeClr val="tx1"/>
              </a:solidFill>
            </a:endParaRPr>
          </a:p>
        </p:txBody>
      </p:sp>
      <p:sp>
        <p:nvSpPr>
          <p:cNvPr id="173" name="Text Placeholder 2">
            <a:extLst>
              <a:ext uri="{FF2B5EF4-FFF2-40B4-BE49-F238E27FC236}">
                <a16:creationId xmlns:a16="http://schemas.microsoft.com/office/drawing/2014/main" id="{212401CB-B65B-4669-A874-6288A046EC84}"/>
              </a:ext>
            </a:extLst>
          </p:cNvPr>
          <p:cNvSpPr>
            <a:spLocks noGrp="1"/>
          </p:cNvSpPr>
          <p:nvPr>
            <p:custDataLst>
              <p:tags r:id="rId52"/>
            </p:custDataLst>
          </p:nvPr>
        </p:nvSpPr>
        <p:spPr bwMode="auto">
          <a:xfrm>
            <a:off x="6532563" y="5802313"/>
            <a:ext cx="1492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F93D9689-9632-4D87-8A2D-265D9E99FDD4}" type="datetime'''''P''''''''''''''''V'''''''''''''">
              <a:rPr lang="en-US" altLang="en-US" sz="900" b="1" smtClean="0">
                <a:solidFill>
                  <a:srgbClr val="373737"/>
                </a:solidFill>
              </a:rPr>
              <a:pPr lvl="1">
                <a:spcBef>
                  <a:spcPct val="0"/>
                </a:spcBef>
                <a:spcAft>
                  <a:spcPct val="0"/>
                </a:spcAft>
                <a:defRPr/>
              </a:pPr>
              <a:t>PV</a:t>
            </a:fld>
            <a:endParaRPr kumimoji="0" lang="en-US" sz="900" b="1" i="0" strike="noStrike" kern="1200" cap="none" spc="0" normalizeH="0" baseline="0" noProof="0">
              <a:ln>
                <a:noFill/>
              </a:ln>
              <a:solidFill>
                <a:srgbClr val="373737"/>
              </a:solidFill>
              <a:effectLst/>
              <a:uLnTx/>
              <a:uFillTx/>
            </a:endParaRPr>
          </a:p>
        </p:txBody>
      </p:sp>
      <p:sp>
        <p:nvSpPr>
          <p:cNvPr id="174" name="Text Placeholder 2">
            <a:extLst>
              <a:ext uri="{FF2B5EF4-FFF2-40B4-BE49-F238E27FC236}">
                <a16:creationId xmlns:a16="http://schemas.microsoft.com/office/drawing/2014/main" id="{5DA8EACE-33FC-4707-B6BB-E6D09C8B65C7}"/>
              </a:ext>
            </a:extLst>
          </p:cNvPr>
          <p:cNvSpPr>
            <a:spLocks noGrp="1"/>
          </p:cNvSpPr>
          <p:nvPr>
            <p:custDataLst>
              <p:tags r:id="rId53"/>
            </p:custDataLst>
          </p:nvPr>
        </p:nvSpPr>
        <p:spPr bwMode="auto">
          <a:xfrm>
            <a:off x="6532563" y="5989638"/>
            <a:ext cx="2714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defTabSz="914400" eaLnBrk="1" fontAlgn="auto" latinLnBrk="0" hangingPunct="1">
              <a:lnSpc>
                <a:spcPct val="100000"/>
              </a:lnSpc>
              <a:spcBef>
                <a:spcPct val="0"/>
              </a:spcBef>
              <a:spcAft>
                <a:spcPct val="0"/>
              </a:spcAft>
              <a:buClrTx/>
              <a:buSzTx/>
              <a:buFont typeface="Arial" panose="020B0604020202020204" pitchFamily="34" charset="0"/>
              <a:buNone/>
              <a:tabLst/>
              <a:defRPr/>
            </a:pPr>
            <a:fld id="{4E3009B2-C1BF-4289-B3F0-BDE76C5D6817}" type="datetime'''''''''''''''''''''''''''W''''''''''in''''d'''''''''''''''">
              <a:rPr kumimoji="0" lang="en-US" altLang="en-US" sz="900" b="1" i="0" u="none" strike="noStrike" kern="1200" cap="none" spc="0" normalizeH="0" baseline="0" noProof="0" smtClean="0">
                <a:ln>
                  <a:noFill/>
                </a:ln>
                <a:solidFill>
                  <a:srgbClr val="373737"/>
                </a:solidFill>
                <a:effectLst/>
                <a:uLnTx/>
                <a:uFillTx/>
              </a:rPr>
              <a:pPr marL="0" marR="0" lvl="1" indent="0" defTabSz="91440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900" b="1" i="0" u="none" strike="noStrike" kern="1200" cap="none" spc="0" normalizeH="0" baseline="0" noProof="0">
              <a:ln>
                <a:noFill/>
              </a:ln>
              <a:solidFill>
                <a:srgbClr val="373737"/>
              </a:solidFill>
              <a:effectLst/>
              <a:uLnTx/>
              <a:uFillTx/>
            </a:endParaRPr>
          </a:p>
        </p:txBody>
      </p:sp>
      <p:sp>
        <p:nvSpPr>
          <p:cNvPr id="175" name="Text Placeholder 2">
            <a:extLst>
              <a:ext uri="{FF2B5EF4-FFF2-40B4-BE49-F238E27FC236}">
                <a16:creationId xmlns:a16="http://schemas.microsoft.com/office/drawing/2014/main" id="{FB9FA9A4-E53D-4D15-B41F-B32888BBD24A}"/>
              </a:ext>
            </a:extLst>
          </p:cNvPr>
          <p:cNvSpPr>
            <a:spLocks noGrp="1"/>
          </p:cNvSpPr>
          <p:nvPr>
            <p:custDataLst>
              <p:tags r:id="rId54"/>
            </p:custDataLst>
          </p:nvPr>
        </p:nvSpPr>
        <p:spPr bwMode="auto">
          <a:xfrm>
            <a:off x="6532563" y="6176963"/>
            <a:ext cx="2778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CBE6E8A5-386F-454B-9F7D-E2EA7DFE3828}" type="datetime'B''''E''''''''''''''''''''''''S''''''''''''''S'">
              <a:rPr lang="en-US" altLang="en-US" sz="900" b="1" smtClean="0">
                <a:solidFill>
                  <a:srgbClr val="373737"/>
                </a:solidFill>
              </a:rPr>
              <a:pPr lvl="1">
                <a:spcBef>
                  <a:spcPct val="0"/>
                </a:spcBef>
                <a:spcAft>
                  <a:spcPct val="0"/>
                </a:spcAft>
                <a:defRPr/>
              </a:pPr>
              <a:t>BESS</a:t>
            </a:fld>
            <a:endParaRPr kumimoji="0" lang="en-US" sz="900" b="1" i="0" strike="noStrike" kern="1200" cap="none" spc="0" normalizeH="0" baseline="0" noProof="0">
              <a:ln>
                <a:noFill/>
              </a:ln>
              <a:solidFill>
                <a:srgbClr val="373737"/>
              </a:solidFill>
              <a:effectLst/>
              <a:uLnTx/>
              <a:uFillTx/>
              <a:ea typeface="+mn-ea"/>
              <a:cs typeface="+mn-cs"/>
            </a:endParaRPr>
          </a:p>
        </p:txBody>
      </p:sp>
      <p:sp>
        <p:nvSpPr>
          <p:cNvPr id="185" name="Text Placeholder 2">
            <a:extLst>
              <a:ext uri="{FF2B5EF4-FFF2-40B4-BE49-F238E27FC236}">
                <a16:creationId xmlns:a16="http://schemas.microsoft.com/office/drawing/2014/main" id="{5755F74D-AF59-82BE-CD16-54B8EBC3BC31}"/>
              </a:ext>
            </a:extLst>
          </p:cNvPr>
          <p:cNvSpPr>
            <a:spLocks noGrp="1"/>
          </p:cNvSpPr>
          <p:nvPr>
            <p:custDataLst>
              <p:tags r:id="rId55"/>
            </p:custDataLst>
          </p:nvPr>
        </p:nvSpPr>
        <p:spPr bwMode="auto">
          <a:xfrm>
            <a:off x="7123113" y="5802313"/>
            <a:ext cx="3460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33103F2A-4FF7-4738-804F-BCE8E23134D9}" type="datetime'''''H''''''''''''''''''''y''b''r''i''d'''''''''">
              <a:rPr lang="en-US" altLang="en-US" sz="900" b="1" smtClean="0">
                <a:solidFill>
                  <a:srgbClr val="373737"/>
                </a:solidFill>
              </a:rPr>
              <a:pPr lvl="1">
                <a:spcBef>
                  <a:spcPct val="0"/>
                </a:spcBef>
                <a:spcAft>
                  <a:spcPct val="0"/>
                </a:spcAft>
                <a:defRPr/>
              </a:pPr>
              <a:t>Hybrid</a:t>
            </a:fld>
            <a:endParaRPr kumimoji="0" lang="en-US" sz="900" b="1" i="0" strike="noStrike" kern="1200" cap="none" spc="0" normalizeH="0" baseline="0" noProof="0">
              <a:ln>
                <a:noFill/>
              </a:ln>
              <a:solidFill>
                <a:srgbClr val="373737"/>
              </a:solidFill>
              <a:effectLst/>
              <a:uLnTx/>
              <a:uFillTx/>
            </a:endParaRPr>
          </a:p>
        </p:txBody>
      </p:sp>
      <p:sp>
        <p:nvSpPr>
          <p:cNvPr id="93" name="Text Placeholder 2">
            <a:extLst>
              <a:ext uri="{FF2B5EF4-FFF2-40B4-BE49-F238E27FC236}">
                <a16:creationId xmlns:a16="http://schemas.microsoft.com/office/drawing/2014/main" id="{4723174C-A167-4D20-9F07-A2A7E733A092}"/>
              </a:ext>
            </a:extLst>
          </p:cNvPr>
          <p:cNvSpPr>
            <a:spLocks noGrp="1"/>
          </p:cNvSpPr>
          <p:nvPr>
            <p:custDataLst>
              <p:tags r:id="rId56"/>
            </p:custDataLst>
          </p:nvPr>
        </p:nvSpPr>
        <p:spPr bwMode="auto">
          <a:xfrm>
            <a:off x="7123113" y="5989638"/>
            <a:ext cx="8588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spcBef>
                <a:spcPct val="0"/>
              </a:spcBef>
              <a:spcAft>
                <a:spcPct val="0"/>
              </a:spcAft>
              <a:defRPr/>
            </a:pPr>
            <a:fld id="{4C33FF14-4928-45AC-BB42-169DF1713801}" type="datetime'''''''''Pu''''''mp''''''''''''e''''d S''t''''''''or''''a''ge'">
              <a:rPr lang="en-US" altLang="en-US" sz="900" b="1" smtClean="0">
                <a:solidFill>
                  <a:srgbClr val="373737"/>
                </a:solidFill>
              </a:rPr>
              <a:pPr lvl="1">
                <a:spcBef>
                  <a:spcPct val="0"/>
                </a:spcBef>
                <a:spcAft>
                  <a:spcPct val="0"/>
                </a:spcAft>
                <a:defRPr/>
              </a:pPr>
              <a:t>Pumped Storage</a:t>
            </a:fld>
            <a:endParaRPr kumimoji="0" lang="en-US" sz="900" b="1" i="0" strike="noStrike" kern="1200" cap="none" spc="0" normalizeH="0" baseline="0" noProof="0">
              <a:ln>
                <a:noFill/>
              </a:ln>
              <a:solidFill>
                <a:srgbClr val="373737"/>
              </a:solidFill>
              <a:effectLst/>
              <a:uLnTx/>
              <a:uFillTx/>
            </a:endParaRPr>
          </a:p>
        </p:txBody>
      </p:sp>
      <p:sp>
        <p:nvSpPr>
          <p:cNvPr id="11" name="Title 5">
            <a:extLst>
              <a:ext uri="{FF2B5EF4-FFF2-40B4-BE49-F238E27FC236}">
                <a16:creationId xmlns:a16="http://schemas.microsoft.com/office/drawing/2014/main" id="{3A4F658F-6ECE-F9EA-E81F-E35C23BF69C3}"/>
              </a:ext>
            </a:extLst>
          </p:cNvPr>
          <p:cNvSpPr>
            <a:spLocks noGrp="1"/>
          </p:cNvSpPr>
          <p:nvPr>
            <p:ph type="title"/>
          </p:nvPr>
        </p:nvSpPr>
        <p:spPr>
          <a:xfrm>
            <a:off x="442800" y="381600"/>
            <a:ext cx="11106632" cy="615553"/>
          </a:xfrm>
        </p:spPr>
        <p:txBody>
          <a:bodyPr vert="horz" wrap="square" lIns="0" tIns="0" rIns="0" bIns="0" rtlCol="0" anchor="t">
            <a:spAutoFit/>
          </a:bodyPr>
          <a:lstStyle/>
          <a:p>
            <a:pPr marL="173038"/>
            <a:r>
              <a:rPr lang="en-US">
                <a:solidFill>
                  <a:schemeClr val="accent1"/>
                </a:solidFill>
                <a:latin typeface="+mj-lt"/>
                <a:cs typeface="+mj-cs"/>
              </a:rPr>
              <a:t>Renewables opportunity in the SEE region represents a green growth pillar for HELLENiQ ENERGY’s business model</a:t>
            </a:r>
          </a:p>
        </p:txBody>
      </p:sp>
      <p:sp>
        <p:nvSpPr>
          <p:cNvPr id="18" name="Oval 17">
            <a:extLst>
              <a:ext uri="{FF2B5EF4-FFF2-40B4-BE49-F238E27FC236}">
                <a16:creationId xmlns:a16="http://schemas.microsoft.com/office/drawing/2014/main" id="{B7491694-0702-B43D-893E-CD9C164C1200}"/>
              </a:ext>
            </a:extLst>
          </p:cNvPr>
          <p:cNvSpPr/>
          <p:nvPr/>
        </p:nvSpPr>
        <p:spPr>
          <a:xfrm>
            <a:off x="169200" y="356400"/>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600" b="1">
                <a:solidFill>
                  <a:schemeClr val="bg1"/>
                </a:solidFill>
              </a:rPr>
              <a:t>4</a:t>
            </a:r>
          </a:p>
        </p:txBody>
      </p:sp>
    </p:spTree>
    <p:custDataLst>
      <p:tags r:id="rId1"/>
    </p:custDataLst>
    <p:extLst>
      <p:ext uri="{BB962C8B-B14F-4D97-AF65-F5344CB8AC3E}">
        <p14:creationId xmlns:p14="http://schemas.microsoft.com/office/powerpoint/2010/main" val="25237257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BFD6DFE-7B7F-4B98-9F30-F0C2F876AF07}"/>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1BC11EA2-3C09-ACB0-4944-A24305365842}"/>
              </a:ext>
            </a:extLst>
          </p:cNvPr>
          <p:cNvSpPr>
            <a:spLocks noGrp="1"/>
          </p:cNvSpPr>
          <p:nvPr>
            <p:ph type="title"/>
          </p:nvPr>
        </p:nvSpPr>
        <p:spPr>
          <a:xfrm>
            <a:off x="1233362" y="2065896"/>
            <a:ext cx="8136000" cy="646331"/>
          </a:xfrm>
        </p:spPr>
        <p:txBody>
          <a:bodyPr/>
          <a:lstStyle/>
          <a:p>
            <a:r>
              <a:rPr lang="el-GR"/>
              <a:t>Νομοθετικό Πλαίσιο στην Ελλάδα</a:t>
            </a:r>
            <a:endParaRPr lang="en-US"/>
          </a:p>
        </p:txBody>
      </p:sp>
      <p:sp>
        <p:nvSpPr>
          <p:cNvPr id="3" name="Date Placeholder 2" hidden="1">
            <a:extLst>
              <a:ext uri="{FF2B5EF4-FFF2-40B4-BE49-F238E27FC236}">
                <a16:creationId xmlns:a16="http://schemas.microsoft.com/office/drawing/2014/main" id="{929FD36E-11A3-7D2D-EA80-B99718727E4D}"/>
              </a:ext>
            </a:extLst>
          </p:cNvPr>
          <p:cNvSpPr>
            <a:spLocks noGrp="1"/>
          </p:cNvSpPr>
          <p:nvPr>
            <p:ph type="dt" sz="half" idx="4294967295"/>
          </p:nvPr>
        </p:nvSpPr>
        <p:spPr>
          <a:xfrm>
            <a:off x="11471275" y="6259513"/>
            <a:ext cx="720725" cy="153987"/>
          </a:xfrm>
        </p:spPr>
        <p:txBody>
          <a:bodyPr/>
          <a:lstStyle/>
          <a:p>
            <a:pPr>
              <a:spcAft>
                <a:spcPts val="600"/>
              </a:spcAft>
            </a:pPr>
            <a:fld id="{D91EECA1-CDD8-4918-8BBA-1AE2701A1BC0}" type="datetime1">
              <a:rPr lang="en-GB" smtClean="0"/>
              <a:pPr>
                <a:spcAft>
                  <a:spcPts val="600"/>
                </a:spcAft>
              </a:pPr>
              <a:t>06/06/2025</a:t>
            </a:fld>
            <a:endParaRPr lang="en-US"/>
          </a:p>
        </p:txBody>
      </p:sp>
      <p:sp>
        <p:nvSpPr>
          <p:cNvPr id="5" name="Slide Number Placeholder 4" hidden="1">
            <a:extLst>
              <a:ext uri="{FF2B5EF4-FFF2-40B4-BE49-F238E27FC236}">
                <a16:creationId xmlns:a16="http://schemas.microsoft.com/office/drawing/2014/main" id="{AB6864A6-B5AD-8D7B-8D87-DDE1EB24ED0C}"/>
              </a:ext>
            </a:extLst>
          </p:cNvPr>
          <p:cNvSpPr>
            <a:spLocks noGrp="1"/>
          </p:cNvSpPr>
          <p:nvPr>
            <p:ph type="sldNum" sz="quarter" idx="4294967295"/>
          </p:nvPr>
        </p:nvSpPr>
        <p:spPr>
          <a:xfrm>
            <a:off x="0" y="6259513"/>
            <a:ext cx="252413" cy="153987"/>
          </a:xfrm>
        </p:spPr>
        <p:txBody>
          <a:bodyPr/>
          <a:lstStyle/>
          <a:p>
            <a:pPr>
              <a:spcAft>
                <a:spcPts val="600"/>
              </a:spcAft>
            </a:pPr>
            <a:fld id="{4531D9DC-ADF0-4D0A-8902-0133E3C6D94B}" type="slidenum">
              <a:rPr lang="en-US" smtClean="0"/>
              <a:pPr>
                <a:spcAft>
                  <a:spcPts val="600"/>
                </a:spcAft>
              </a:pPr>
              <a:t>42</a:t>
            </a:fld>
            <a:endParaRPr lang="en-US"/>
          </a:p>
        </p:txBody>
      </p:sp>
    </p:spTree>
    <p:extLst>
      <p:ext uri="{BB962C8B-B14F-4D97-AF65-F5344CB8AC3E}">
        <p14:creationId xmlns:p14="http://schemas.microsoft.com/office/powerpoint/2010/main" val="37273502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51F9EFD-8B00-5064-8B00-4279A3505AF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83BAA45-9969-B04A-3B57-4627157D9D20}"/>
              </a:ext>
            </a:extLst>
          </p:cNvPr>
          <p:cNvSpPr>
            <a:spLocks noGrp="1"/>
          </p:cNvSpPr>
          <p:nvPr>
            <p:ph type="title"/>
          </p:nvPr>
        </p:nvSpPr>
        <p:spPr>
          <a:xfrm>
            <a:off x="443372" y="379660"/>
            <a:ext cx="11305716" cy="984885"/>
          </a:xfrm>
        </p:spPr>
        <p:txBody>
          <a:bodyPr/>
          <a:lstStyle/>
          <a:p>
            <a:r>
              <a:rPr lang="el-GR">
                <a:solidFill>
                  <a:srgbClr val="0F55F5"/>
                </a:solidFill>
              </a:rPr>
              <a:t>Εισαγωγή δυνατότητας εγκατάστασης σταθμού ΑΠΕ με μπαταρία</a:t>
            </a:r>
            <a:endParaRPr lang="en-US">
              <a:solidFill>
                <a:srgbClr val="0F55F5"/>
              </a:solidFill>
            </a:endParaRPr>
          </a:p>
        </p:txBody>
      </p:sp>
      <p:sp>
        <p:nvSpPr>
          <p:cNvPr id="2" name="object 19">
            <a:extLst>
              <a:ext uri="{FF2B5EF4-FFF2-40B4-BE49-F238E27FC236}">
                <a16:creationId xmlns:a16="http://schemas.microsoft.com/office/drawing/2014/main" id="{EFD2FEB4-D8ED-94CC-92FA-BF01AA3C0CA1}"/>
              </a:ext>
            </a:extLst>
          </p:cNvPr>
          <p:cNvSpPr txBox="1"/>
          <p:nvPr/>
        </p:nvSpPr>
        <p:spPr>
          <a:xfrm rot="16200000">
            <a:off x="1083122" y="445545"/>
            <a:ext cx="3944670" cy="5782671"/>
          </a:xfrm>
          <a:prstGeom prst="rect">
            <a:avLst/>
          </a:prstGeom>
        </p:spPr>
        <p:txBody>
          <a:bodyPr vert="vert" wrap="square" lIns="0" tIns="0" rIns="0" bIns="0" rtlCol="0">
            <a:spAutoFit/>
          </a:bodyPr>
          <a:lstStyle/>
          <a:p>
            <a:pPr marL="0" indent="0" algn="ctr" defTabSz="1219170">
              <a:lnSpc>
                <a:spcPct val="150000"/>
              </a:lnSpc>
              <a:spcBef>
                <a:spcPts val="800"/>
              </a:spcBef>
              <a:buClr>
                <a:srgbClr val="7FCA20"/>
              </a:buClr>
              <a:buNone/>
              <a:defRPr/>
            </a:pPr>
            <a:r>
              <a:rPr lang="el-GR" sz="1400" b="1" kern="0">
                <a:solidFill>
                  <a:srgbClr val="0F55F5"/>
                </a:solidFill>
                <a:latin typeface="+mj-lt"/>
              </a:rPr>
              <a:t>Κατηγορία σταθμών ΑΠΕ με μπαταρία «</a:t>
            </a:r>
            <a:r>
              <a:rPr lang="el-GR" sz="1400" b="1">
                <a:solidFill>
                  <a:srgbClr val="0F55F5"/>
                </a:solidFill>
                <a:latin typeface="+mj-lt"/>
              </a:rPr>
              <a:t>πίσω</a:t>
            </a:r>
            <a:r>
              <a:rPr lang="el-GR" sz="1400" b="1" kern="0">
                <a:solidFill>
                  <a:srgbClr val="0F55F5"/>
                </a:solidFill>
                <a:latin typeface="+mj-lt"/>
              </a:rPr>
              <a:t> από τον μετρητή»</a:t>
            </a:r>
            <a:r>
              <a:rPr lang="en-US" sz="1400" b="1" kern="0">
                <a:solidFill>
                  <a:srgbClr val="0F55F5"/>
                </a:solidFill>
                <a:latin typeface="+mj-lt"/>
              </a:rPr>
              <a:t> </a:t>
            </a:r>
            <a:r>
              <a:rPr lang="el-GR" sz="1400" b="1" kern="0">
                <a:solidFill>
                  <a:srgbClr val="0F55F5"/>
                </a:solidFill>
                <a:latin typeface="+mj-lt"/>
              </a:rPr>
              <a:t> (σταθμοί </a:t>
            </a:r>
            <a:r>
              <a:rPr lang="el-GR" sz="1400" b="1">
                <a:solidFill>
                  <a:srgbClr val="0F55F5"/>
                </a:solidFill>
                <a:latin typeface="+mj-lt"/>
              </a:rPr>
              <a:t>11Α</a:t>
            </a:r>
            <a:r>
              <a:rPr lang="el-GR" sz="1400" b="1" kern="0">
                <a:solidFill>
                  <a:srgbClr val="0F55F5"/>
                </a:solidFill>
                <a:latin typeface="+mj-lt"/>
              </a:rPr>
              <a:t>)</a:t>
            </a:r>
          </a:p>
          <a:p>
            <a:pPr marL="364058" indent="-247220">
              <a:lnSpc>
                <a:spcPct val="150000"/>
              </a:lnSpc>
              <a:buClr>
                <a:schemeClr val="accent2"/>
              </a:buClr>
              <a:buFont typeface="Wingdings" panose="05000000000000000000" pitchFamily="2" charset="2"/>
              <a:buChar char="§"/>
              <a:defRPr/>
            </a:pPr>
            <a:r>
              <a:rPr lang="el-GR" sz="1400" kern="0">
                <a:solidFill>
                  <a:srgbClr val="061E3A"/>
                </a:solidFill>
                <a:latin typeface="+mj-lt"/>
              </a:rPr>
              <a:t> Οι σταθμοί της </a:t>
            </a:r>
            <a:r>
              <a:rPr lang="el-GR" sz="1400">
                <a:solidFill>
                  <a:srgbClr val="061E3A"/>
                </a:solidFill>
                <a:latin typeface="+mj-lt"/>
              </a:rPr>
              <a:t>11Α</a:t>
            </a:r>
            <a:r>
              <a:rPr lang="el-GR" sz="1400" kern="0">
                <a:solidFill>
                  <a:srgbClr val="061E3A"/>
                </a:solidFill>
                <a:latin typeface="+mj-lt"/>
              </a:rPr>
              <a:t> (</a:t>
            </a:r>
            <a:r>
              <a:rPr lang="en-GB" sz="1400" err="1">
                <a:solidFill>
                  <a:srgbClr val="061E3A"/>
                </a:solidFill>
                <a:latin typeface="+mj-lt"/>
              </a:rPr>
              <a:t>BtM</a:t>
            </a:r>
            <a:r>
              <a:rPr lang="en-GB" sz="1400" kern="0">
                <a:solidFill>
                  <a:srgbClr val="061E3A"/>
                </a:solidFill>
                <a:latin typeface="+mj-lt"/>
              </a:rPr>
              <a:t>)</a:t>
            </a:r>
            <a:r>
              <a:rPr lang="en-GB" sz="1400">
                <a:solidFill>
                  <a:srgbClr val="061E3A"/>
                </a:solidFill>
                <a:latin typeface="+mj-lt"/>
              </a:rPr>
              <a:t> </a:t>
            </a:r>
            <a:r>
              <a:rPr lang="el-GR" sz="1400" b="1" kern="0">
                <a:solidFill>
                  <a:srgbClr val="061E3A"/>
                </a:solidFill>
                <a:latin typeface="+mj-lt"/>
              </a:rPr>
              <a:t> </a:t>
            </a:r>
            <a:r>
              <a:rPr lang="el-GR" sz="1400" kern="0">
                <a:solidFill>
                  <a:srgbClr val="061E3A"/>
                </a:solidFill>
                <a:latin typeface="+mj-lt"/>
              </a:rPr>
              <a:t>είναι σταθμοί ΑΠΕ και μπορούν να αποζημιώνονται από τον ΕΛΑΠΕ. </a:t>
            </a:r>
          </a:p>
          <a:p>
            <a:pPr marL="364058" indent="-247220">
              <a:lnSpc>
                <a:spcPct val="150000"/>
              </a:lnSpc>
              <a:buClr>
                <a:schemeClr val="accent2"/>
              </a:buClr>
              <a:buFont typeface="Wingdings" panose="05000000000000000000" pitchFamily="2" charset="2"/>
              <a:buChar char="§"/>
              <a:defRPr/>
            </a:pPr>
            <a:r>
              <a:rPr lang="el-GR" sz="1400" kern="0">
                <a:solidFill>
                  <a:srgbClr val="061E3A"/>
                </a:solidFill>
                <a:latin typeface="+mj-lt"/>
              </a:rPr>
              <a:t> </a:t>
            </a:r>
            <a:r>
              <a:rPr lang="el-GR" sz="1400">
                <a:solidFill>
                  <a:srgbClr val="061E3A"/>
                </a:solidFill>
                <a:latin typeface="+mj-lt"/>
              </a:rPr>
              <a:t>Η μονάδα αποθήκευσης του σταθμού μπορεί να αποθηκεύει απορριπτόμενη ενέργεια</a:t>
            </a:r>
            <a:r>
              <a:rPr lang="el-GR" sz="1400" kern="0">
                <a:solidFill>
                  <a:srgbClr val="061E3A"/>
                </a:solidFill>
                <a:latin typeface="+mj-lt"/>
              </a:rPr>
              <a:t> από </a:t>
            </a:r>
            <a:r>
              <a:rPr lang="el-GR" sz="1400">
                <a:solidFill>
                  <a:srgbClr val="061E3A"/>
                </a:solidFill>
                <a:latin typeface="+mj-lt"/>
              </a:rPr>
              <a:t>τις μονάδες ΑΠΕ του σταθμού</a:t>
            </a:r>
            <a:r>
              <a:rPr lang="el-GR" sz="1400" kern="0">
                <a:solidFill>
                  <a:srgbClr val="061E3A"/>
                </a:solidFill>
                <a:latin typeface="+mj-lt"/>
              </a:rPr>
              <a:t>.</a:t>
            </a:r>
          </a:p>
          <a:p>
            <a:pPr marL="364058" indent="-247220">
              <a:lnSpc>
                <a:spcPct val="150000"/>
              </a:lnSpc>
              <a:buClr>
                <a:schemeClr val="accent2"/>
              </a:buClr>
              <a:buFont typeface="Wingdings" panose="05000000000000000000" pitchFamily="2" charset="2"/>
              <a:buChar char="§"/>
              <a:defRPr/>
            </a:pPr>
            <a:r>
              <a:rPr lang="el-GR" sz="1400" kern="0">
                <a:solidFill>
                  <a:srgbClr val="061E3A"/>
                </a:solidFill>
                <a:latin typeface="+mj-lt"/>
              </a:rPr>
              <a:t> Η αδειοδότησή τους είναι </a:t>
            </a:r>
            <a:r>
              <a:rPr lang="el-GR" sz="1400">
                <a:solidFill>
                  <a:srgbClr val="061E3A"/>
                </a:solidFill>
                <a:latin typeface="+mj-lt"/>
              </a:rPr>
              <a:t>απλή. Αδειοδοτούνται ως κοινοί σταθμοί ΑΠΕ. Η προσθήκη μπαταρίας σε αδειοδοτημένες μονάδες ΑΠΕ απαιτεί μία απλή ενημέρωση της ΡΑΑΕΥ </a:t>
            </a:r>
            <a:endParaRPr lang="el-GR" sz="1400" kern="0">
              <a:solidFill>
                <a:srgbClr val="061E3A"/>
              </a:solidFill>
              <a:latin typeface="+mj-lt"/>
            </a:endParaRPr>
          </a:p>
          <a:p>
            <a:pPr marL="364058" indent="-247220" defTabSz="1219170">
              <a:lnSpc>
                <a:spcPct val="150000"/>
              </a:lnSpc>
              <a:spcBef>
                <a:spcPts val="800"/>
              </a:spcBef>
              <a:buClr>
                <a:schemeClr val="accent2"/>
              </a:buClr>
              <a:buFont typeface="Wingdings" panose="05000000000000000000" pitchFamily="2" charset="2"/>
              <a:buChar char="§"/>
              <a:defRPr/>
            </a:pPr>
            <a:r>
              <a:rPr lang="el-GR" sz="1400" kern="0">
                <a:solidFill>
                  <a:srgbClr val="061E3A"/>
                </a:solidFill>
                <a:latin typeface="+mj-lt"/>
              </a:rPr>
              <a:t>Οι σταθμοί ΑΠΕ της κατηγορίας αυτής εμπίπτουν στην Ομάδα </a:t>
            </a:r>
            <a:r>
              <a:rPr lang="el-GR" sz="1400">
                <a:solidFill>
                  <a:srgbClr val="061E3A"/>
                </a:solidFill>
                <a:latin typeface="+mj-lt"/>
              </a:rPr>
              <a:t>Δ1</a:t>
            </a:r>
            <a:r>
              <a:rPr lang="el-GR" sz="1400" kern="0">
                <a:solidFill>
                  <a:srgbClr val="061E3A"/>
                </a:solidFill>
                <a:latin typeface="+mj-lt"/>
              </a:rPr>
              <a:t> της ΥΑ Προτεραιοτήτων του ΑΔΜΗΕ (ΥΑ ΥΠΕΝ/ΓΔΕ/84014/7123/12.08.2022)</a:t>
            </a:r>
          </a:p>
        </p:txBody>
      </p:sp>
      <p:sp>
        <p:nvSpPr>
          <p:cNvPr id="3" name="object 19">
            <a:extLst>
              <a:ext uri="{FF2B5EF4-FFF2-40B4-BE49-F238E27FC236}">
                <a16:creationId xmlns:a16="http://schemas.microsoft.com/office/drawing/2014/main" id="{A945B96C-0344-5E4C-7FB5-7D137FB696C1}"/>
              </a:ext>
            </a:extLst>
          </p:cNvPr>
          <p:cNvSpPr txBox="1"/>
          <p:nvPr/>
        </p:nvSpPr>
        <p:spPr>
          <a:xfrm rot="16200000">
            <a:off x="6517877" y="1043198"/>
            <a:ext cx="5237331" cy="5782672"/>
          </a:xfrm>
          <a:prstGeom prst="rect">
            <a:avLst/>
          </a:prstGeom>
        </p:spPr>
        <p:txBody>
          <a:bodyPr vert="vert" wrap="square" lIns="0" tIns="0" rIns="0" bIns="0" rtlCol="0">
            <a:spAutoFit/>
          </a:bodyPr>
          <a:lstStyle/>
          <a:p>
            <a:pPr marL="0" indent="0" algn="ctr" defTabSz="1219170">
              <a:lnSpc>
                <a:spcPct val="150000"/>
              </a:lnSpc>
              <a:spcBef>
                <a:spcPts val="800"/>
              </a:spcBef>
              <a:buClr>
                <a:srgbClr val="7FCA20"/>
              </a:buClr>
              <a:buNone/>
              <a:defRPr/>
            </a:pPr>
            <a:r>
              <a:rPr lang="el-GR" sz="1400" b="1" kern="0">
                <a:solidFill>
                  <a:srgbClr val="0F55F5"/>
                </a:solidFill>
                <a:latin typeface="+mj-lt"/>
              </a:rPr>
              <a:t>Κατηγορία σταθμών ΑΠΕ με μπαταρία «μπροστά από τον μετρητή» (σταθμοί 11Β)</a:t>
            </a:r>
            <a:endParaRPr lang="en-US" sz="1400" b="1" kern="0">
              <a:solidFill>
                <a:srgbClr val="0F55F5"/>
              </a:solidFill>
              <a:latin typeface="+mj-lt"/>
            </a:endParaRPr>
          </a:p>
          <a:p>
            <a:pPr marL="0" indent="0" defTabSz="1219170">
              <a:lnSpc>
                <a:spcPct val="150000"/>
              </a:lnSpc>
              <a:spcBef>
                <a:spcPts val="800"/>
              </a:spcBef>
              <a:buClr>
                <a:srgbClr val="7FCA20"/>
              </a:buClr>
              <a:buNone/>
              <a:defRPr/>
            </a:pPr>
            <a:r>
              <a:rPr lang="el-GR" sz="1400" kern="0">
                <a:solidFill>
                  <a:srgbClr val="061E3A"/>
                </a:solidFill>
                <a:latin typeface="+mj-lt"/>
              </a:rPr>
              <a:t> Οι σταθμοί της </a:t>
            </a:r>
            <a:r>
              <a:rPr lang="el-GR" sz="1400">
                <a:solidFill>
                  <a:srgbClr val="061E3A"/>
                </a:solidFill>
                <a:latin typeface="+mj-lt"/>
              </a:rPr>
              <a:t>11Α</a:t>
            </a:r>
            <a:r>
              <a:rPr lang="el-GR" sz="1400" kern="0">
                <a:solidFill>
                  <a:srgbClr val="061E3A"/>
                </a:solidFill>
                <a:latin typeface="+mj-lt"/>
              </a:rPr>
              <a:t> (</a:t>
            </a:r>
            <a:r>
              <a:rPr lang="en-GB" sz="1400" err="1">
                <a:solidFill>
                  <a:srgbClr val="061E3A"/>
                </a:solidFill>
                <a:latin typeface="+mj-lt"/>
              </a:rPr>
              <a:t>BtM</a:t>
            </a:r>
            <a:r>
              <a:rPr lang="en-GB" sz="1400" kern="0">
                <a:solidFill>
                  <a:srgbClr val="061E3A"/>
                </a:solidFill>
                <a:latin typeface="+mj-lt"/>
              </a:rPr>
              <a:t>)</a:t>
            </a:r>
            <a:r>
              <a:rPr lang="en-GB" sz="1400">
                <a:solidFill>
                  <a:srgbClr val="061E3A"/>
                </a:solidFill>
                <a:latin typeface="+mj-lt"/>
              </a:rPr>
              <a:t> </a:t>
            </a:r>
            <a:r>
              <a:rPr lang="el-GR" sz="1400" b="1" kern="0">
                <a:solidFill>
                  <a:srgbClr val="061E3A"/>
                </a:solidFill>
                <a:latin typeface="+mj-lt"/>
              </a:rPr>
              <a:t> </a:t>
            </a:r>
            <a:r>
              <a:rPr lang="el-GR" sz="1400" kern="0">
                <a:solidFill>
                  <a:srgbClr val="061E3A"/>
                </a:solidFill>
                <a:latin typeface="+mj-lt"/>
              </a:rPr>
              <a:t>είναι σταθμοί ΑΠΕ και μπορούν να αποζημιώνονται από τον ΕΛΑΠΕ. </a:t>
            </a:r>
          </a:p>
          <a:p>
            <a:pPr marL="364058" indent="-247220">
              <a:lnSpc>
                <a:spcPct val="150000"/>
              </a:lnSpc>
              <a:buClr>
                <a:schemeClr val="accent2"/>
              </a:buClr>
              <a:buFont typeface="Wingdings" panose="05000000000000000000" pitchFamily="2" charset="2"/>
              <a:buChar char="§"/>
              <a:defRPr/>
            </a:pPr>
            <a:r>
              <a:rPr lang="el-GR" sz="1400" kern="0">
                <a:solidFill>
                  <a:srgbClr val="061E3A"/>
                </a:solidFill>
                <a:latin typeface="+mj-lt"/>
              </a:rPr>
              <a:t> </a:t>
            </a:r>
            <a:r>
              <a:rPr lang="el-GR" sz="1400">
                <a:solidFill>
                  <a:srgbClr val="061E3A"/>
                </a:solidFill>
                <a:latin typeface="+mj-lt"/>
              </a:rPr>
              <a:t>Οι σταθμοί της 11Β (FtM) ΔΕΝ είναι σταθμοί ΑΠΕ και ΔΕΝ μπορούν να αποζημιώνονται από τον ΕΛΑΠΕ. </a:t>
            </a:r>
          </a:p>
          <a:p>
            <a:pPr marL="364058" indent="-247220">
              <a:lnSpc>
                <a:spcPct val="150000"/>
              </a:lnSpc>
              <a:buClr>
                <a:schemeClr val="accent2"/>
              </a:buClr>
              <a:buFont typeface="Wingdings" panose="05000000000000000000" pitchFamily="2" charset="2"/>
              <a:buChar char="§"/>
              <a:defRPr/>
            </a:pPr>
            <a:r>
              <a:rPr lang="el-GR" sz="1400">
                <a:solidFill>
                  <a:srgbClr val="061E3A"/>
                </a:solidFill>
                <a:latin typeface="+mj-lt"/>
              </a:rPr>
              <a:t> Είναι μονάδα αγοράς και δύναται να απορροφά «μαύρη» ενέργεια από το δίκτυο.</a:t>
            </a:r>
          </a:p>
          <a:p>
            <a:pPr marL="364058" indent="-247220">
              <a:lnSpc>
                <a:spcPct val="150000"/>
              </a:lnSpc>
              <a:buClr>
                <a:schemeClr val="accent2"/>
              </a:buClr>
              <a:buFont typeface="Wingdings" panose="05000000000000000000" pitchFamily="2" charset="2"/>
              <a:buChar char="§"/>
              <a:defRPr/>
            </a:pPr>
            <a:r>
              <a:rPr lang="el-GR" sz="1400">
                <a:solidFill>
                  <a:srgbClr val="061E3A"/>
                </a:solidFill>
                <a:latin typeface="+mj-lt"/>
              </a:rPr>
              <a:t> Η αδειοδότησή τους είναι πιο σύνθετη, καθώς θα πρέπει να συνοδεύεται από μία σειρά μελετών και προσομοιώσεων της αγοράς. </a:t>
            </a:r>
          </a:p>
          <a:p>
            <a:pPr marL="364058" indent="-247220">
              <a:lnSpc>
                <a:spcPct val="150000"/>
              </a:lnSpc>
              <a:buClr>
                <a:schemeClr val="accent2"/>
              </a:buClr>
              <a:buFont typeface="Wingdings" panose="05000000000000000000" pitchFamily="2" charset="2"/>
              <a:buChar char="§"/>
              <a:defRPr/>
            </a:pPr>
            <a:r>
              <a:rPr lang="el-GR" sz="1400">
                <a:solidFill>
                  <a:srgbClr val="061E3A"/>
                </a:solidFill>
                <a:latin typeface="+mj-lt"/>
              </a:rPr>
              <a:t>Οι σταθμοί ΑΠΕ της κατηγορίας αυτής εμπίπτουν στην Ομάδα Δ2 της ΥΑ Προτεραιοτήτων του ΑΔΜΗΕ (ΥΑ ΥΠΕΝ/ΓΔΕ/84014/7123/12.08.2022)</a:t>
            </a:r>
          </a:p>
          <a:p>
            <a:pPr marL="364058" indent="-247220">
              <a:lnSpc>
                <a:spcPct val="150000"/>
              </a:lnSpc>
              <a:buClr>
                <a:schemeClr val="accent2"/>
              </a:buClr>
              <a:buFont typeface="Wingdings" panose="05000000000000000000" pitchFamily="2" charset="2"/>
              <a:buChar char="§"/>
              <a:defRPr/>
            </a:pPr>
            <a:r>
              <a:rPr lang="el-GR" sz="1400">
                <a:solidFill>
                  <a:srgbClr val="061E3A"/>
                </a:solidFill>
                <a:latin typeface="+mj-lt"/>
              </a:rPr>
              <a:t> Απαιτείται να εγκριθεί νέο σχήμα ενίσχυσης από την ΕΕ εάν θέλουμε να χορηγηθούν ενισχύσεις στα έργα αυτά.</a:t>
            </a:r>
          </a:p>
        </p:txBody>
      </p:sp>
      <p:sp>
        <p:nvSpPr>
          <p:cNvPr id="5" name="TextBox 4">
            <a:extLst>
              <a:ext uri="{FF2B5EF4-FFF2-40B4-BE49-F238E27FC236}">
                <a16:creationId xmlns:a16="http://schemas.microsoft.com/office/drawing/2014/main" id="{CD39464B-A558-5321-37BD-7EB72164E6B8}"/>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ΑΔΜΗΕ</a:t>
            </a:r>
            <a:endParaRPr lang="en-US" sz="1200"/>
          </a:p>
        </p:txBody>
      </p:sp>
    </p:spTree>
    <p:extLst>
      <p:ext uri="{BB962C8B-B14F-4D97-AF65-F5344CB8AC3E}">
        <p14:creationId xmlns:p14="http://schemas.microsoft.com/office/powerpoint/2010/main" val="5705100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04659A6-67B4-CFC6-65B1-A59E0EB1C74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4D42F8E-E0AD-465D-CC02-FDC9EC4B40B3}"/>
              </a:ext>
            </a:extLst>
          </p:cNvPr>
          <p:cNvSpPr>
            <a:spLocks noGrp="1"/>
          </p:cNvSpPr>
          <p:nvPr>
            <p:ph type="title"/>
          </p:nvPr>
        </p:nvSpPr>
        <p:spPr>
          <a:xfrm>
            <a:off x="443372" y="379660"/>
            <a:ext cx="11305716" cy="492443"/>
          </a:xfrm>
        </p:spPr>
        <p:txBody>
          <a:bodyPr/>
          <a:lstStyle/>
          <a:p>
            <a:r>
              <a:rPr lang="el-GR">
                <a:solidFill>
                  <a:srgbClr val="0F55F5"/>
                </a:solidFill>
              </a:rPr>
              <a:t>Εισαγωγή πλαισίου ενίσχυσης ΣΑΗΕ</a:t>
            </a:r>
            <a:endParaRPr lang="en-US">
              <a:solidFill>
                <a:srgbClr val="0F55F5"/>
              </a:solidFill>
            </a:endParaRPr>
          </a:p>
        </p:txBody>
      </p:sp>
      <p:sp>
        <p:nvSpPr>
          <p:cNvPr id="2" name="object 19">
            <a:extLst>
              <a:ext uri="{FF2B5EF4-FFF2-40B4-BE49-F238E27FC236}">
                <a16:creationId xmlns:a16="http://schemas.microsoft.com/office/drawing/2014/main" id="{0D8E9FB7-1DBA-031B-F31C-6E1ECE1AA6B8}"/>
              </a:ext>
            </a:extLst>
          </p:cNvPr>
          <p:cNvSpPr txBox="1"/>
          <p:nvPr/>
        </p:nvSpPr>
        <p:spPr>
          <a:xfrm rot="16200000">
            <a:off x="3825076" y="-2451898"/>
            <a:ext cx="4390946" cy="11584963"/>
          </a:xfrm>
          <a:prstGeom prst="rect">
            <a:avLst/>
          </a:prstGeom>
        </p:spPr>
        <p:txBody>
          <a:bodyPr vert="vert" wrap="square" lIns="0" tIns="0" rIns="0" bIns="0" rtlCol="0">
            <a:spAutoFit/>
          </a:bodyPr>
          <a:lstStyle/>
          <a:p>
            <a:pPr marL="0" indent="0" algn="just" defTabSz="1219170">
              <a:lnSpc>
                <a:spcPct val="150000"/>
              </a:lnSpc>
              <a:spcBef>
                <a:spcPts val="800"/>
              </a:spcBef>
              <a:buClr>
                <a:srgbClr val="7FCA20"/>
              </a:buClr>
              <a:buNone/>
              <a:defRPr/>
            </a:pPr>
            <a:r>
              <a:rPr lang="el-GR" sz="1600" b="1" kern="0">
                <a:solidFill>
                  <a:srgbClr val="0F55F5"/>
                </a:solidFill>
                <a:latin typeface="+mj-lt"/>
              </a:rPr>
              <a:t>Ενέργειες Πολιτείας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 Αρχές του 2021 εκπονήθηκαν μελέτες που έδειξαν την βέλτιστη αναλογία σταθμών αποθήκευσης μικρής και μεγάλης χωρητικότητας</a:t>
            </a:r>
            <a:r>
              <a:rPr lang="en-US" sz="1600" kern="0">
                <a:solidFill>
                  <a:srgbClr val="061E3A"/>
                </a:solidFill>
                <a:latin typeface="+mj-lt"/>
              </a:rPr>
              <a:t>.</a:t>
            </a:r>
            <a:endParaRPr lang="el-GR" sz="16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Στο RRF (Ταμείο Ανάκαμψης και Ανθεκτικότητας) συμπεριλήφθηκε πρόβλεψη για χορήγηση επενδυτικής ενίσχυσης ύψους 200 + 250 εκ. € για την εγκατάσταση σταθμών αποθήκευσης ηλ. Ενέργειας (Μπαταρίες + ΑΤΣ Αμφιλοχίας)</a:t>
            </a:r>
            <a:r>
              <a:rPr lang="en-US" sz="1600" kern="0">
                <a:solidFill>
                  <a:srgbClr val="061E3A"/>
                </a:solidFill>
                <a:latin typeface="+mj-lt"/>
              </a:rPr>
              <a:t>.</a:t>
            </a:r>
            <a:endParaRPr lang="el-GR" sz="16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Υποβλήθηκε επίσημη κοινοποίηση και λήφθηκε εγκριτική απόφαση της ΕΕ για χορήγηση ενίσχυσης (επενδυτικής και λειτουργικής) στον ΑΤΣ Αμφιλοχίας</a:t>
            </a:r>
            <a:r>
              <a:rPr lang="en-US" sz="1600" kern="0">
                <a:solidFill>
                  <a:srgbClr val="061E3A"/>
                </a:solidFill>
                <a:latin typeface="+mj-lt"/>
              </a:rPr>
              <a:t>.</a:t>
            </a:r>
            <a:endParaRPr lang="el-GR" sz="16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Παράλληλα εκκίνησε η διαδικασία κοινοποίησης στην ΕΕ σχήματος ενίσχυσης των ΣΑΗΕ (SA.64736)</a:t>
            </a:r>
            <a:r>
              <a:rPr lang="en-US" sz="1600" kern="0">
                <a:solidFill>
                  <a:srgbClr val="061E3A"/>
                </a:solidFill>
                <a:latin typeface="+mj-lt"/>
              </a:rPr>
              <a:t>.</a:t>
            </a:r>
            <a:endParaRPr lang="el-GR" sz="16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ον Σεπτέμβριο του έτους 2022 λήφθηκε η εγκριτική απόφαση για την χορήγηση ενίσχυση σε μεμονωμένους σταθμούς αποθήκευσης ηλεκτρικής ενέργειας (αποτέλεσε την 1η σχετική απόφαση στην ΕΕ)</a:t>
            </a:r>
            <a:r>
              <a:rPr lang="en-US" sz="1600" kern="0">
                <a:solidFill>
                  <a:srgbClr val="061E3A"/>
                </a:solidFill>
                <a:latin typeface="+mj-lt"/>
              </a:rPr>
              <a:t>.</a:t>
            </a:r>
            <a:endParaRPr lang="el-GR" sz="16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Με την YA ΥΠΕΝ/ΔΗΕ/54536/1941/30.05.2022 ορίστηκε το πλαίσιο χορήγησης ενίσχυσης στον ΑΤΣ Αμφιλοχίας και με την ΥΑ ΥΠΕΝ/ΔΗΕ/55948/1087/20.05.2023 το πλαίσιο χορήγησης ενίσχυσης σε ΣΑΗΕ συσσωρευτών</a:t>
            </a:r>
            <a:r>
              <a:rPr lang="en-US" sz="1600" kern="0">
                <a:solidFill>
                  <a:srgbClr val="061E3A"/>
                </a:solidFill>
                <a:latin typeface="+mj-lt"/>
              </a:rPr>
              <a:t>.</a:t>
            </a:r>
            <a:endParaRPr lang="el-GR" sz="1600" kern="0">
              <a:solidFill>
                <a:srgbClr val="061E3A"/>
              </a:solidFill>
              <a:latin typeface="+mj-lt"/>
            </a:endParaRPr>
          </a:p>
        </p:txBody>
      </p:sp>
      <p:sp>
        <p:nvSpPr>
          <p:cNvPr id="3" name="TextBox 2">
            <a:extLst>
              <a:ext uri="{FF2B5EF4-FFF2-40B4-BE49-F238E27FC236}">
                <a16:creationId xmlns:a16="http://schemas.microsoft.com/office/drawing/2014/main" id="{B3BF433E-ABF6-D95F-43E4-83F29B9ABF78}"/>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19216776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3F2623B-D99A-D9DA-D592-F48E3CF97CE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4F9CE74-338B-A9B0-C88E-90FAB095482D}"/>
              </a:ext>
            </a:extLst>
          </p:cNvPr>
          <p:cNvSpPr>
            <a:spLocks noGrp="1"/>
          </p:cNvSpPr>
          <p:nvPr>
            <p:ph type="title"/>
          </p:nvPr>
        </p:nvSpPr>
        <p:spPr>
          <a:xfrm>
            <a:off x="443372" y="379660"/>
            <a:ext cx="11305716" cy="1477328"/>
          </a:xfrm>
        </p:spPr>
        <p:txBody>
          <a:bodyPr/>
          <a:lstStyle/>
          <a:p>
            <a:r>
              <a:rPr lang="el-GR">
                <a:solidFill>
                  <a:srgbClr val="0F55F5"/>
                </a:solidFill>
              </a:rPr>
              <a:t>Βασικά σημεία εγκριτικής απόφασης ΕΕ</a:t>
            </a:r>
            <a:br>
              <a:rPr lang="el-GR">
                <a:solidFill>
                  <a:srgbClr val="0F55F5"/>
                </a:solidFill>
              </a:rPr>
            </a:br>
            <a:r>
              <a:rPr lang="el-GR">
                <a:solidFill>
                  <a:srgbClr val="0F55F5"/>
                </a:solidFill>
              </a:rPr>
              <a:t>(</a:t>
            </a:r>
            <a:r>
              <a:rPr lang="en-US">
                <a:solidFill>
                  <a:srgbClr val="0F55F5"/>
                </a:solidFill>
              </a:rPr>
              <a:t>SA.64736 (2022/</a:t>
            </a:r>
            <a:r>
              <a:rPr lang="el-GR">
                <a:solidFill>
                  <a:srgbClr val="0F55F5"/>
                </a:solidFill>
              </a:rPr>
              <a:t>Ν) </a:t>
            </a:r>
            <a:r>
              <a:rPr lang="en-US">
                <a:solidFill>
                  <a:srgbClr val="0F55F5"/>
                </a:solidFill>
              </a:rPr>
              <a:t>RRF Greece Financial support in favor of electricity storage facilities)</a:t>
            </a:r>
          </a:p>
        </p:txBody>
      </p:sp>
      <p:sp>
        <p:nvSpPr>
          <p:cNvPr id="2" name="object 19">
            <a:extLst>
              <a:ext uri="{FF2B5EF4-FFF2-40B4-BE49-F238E27FC236}">
                <a16:creationId xmlns:a16="http://schemas.microsoft.com/office/drawing/2014/main" id="{7B86532F-B8E0-9EAD-513D-D3C418D43D05}"/>
              </a:ext>
            </a:extLst>
          </p:cNvPr>
          <p:cNvSpPr txBox="1"/>
          <p:nvPr/>
        </p:nvSpPr>
        <p:spPr>
          <a:xfrm rot="16200000">
            <a:off x="3851530" y="-1596391"/>
            <a:ext cx="4678204"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 Θα χορηγηθεί επενδυτική και λειτουργική ενίσχυση, μετά από ανταγωνιστική διαδικασία υποβολής προσφορών, σε περίπου 900 MW σταθμών αποθήκευση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Θα πρέπει να διενεργηθούν τουλάχιστον 2 ή 3 ανταγωνιστικές διαδικασίες με την πρώτη να καλύπτει κατ’ελάχιστον το 40% της συνολικής δημοπρατούμενης ισχύο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Η επενδυτική ενίσχυση μπορεί να είναι της τάξεως του 40-50% του CapEx</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Στην ανταγωνιστική διαδικασία οι κάτοχοι των ΣΑΗΕ υποβάλουν την τιμή αποζημίωσης που θέλουν να λαμβάνουν σε €/MW/έτο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Η λειτουργική ενίσχυση χορηγείται για 10 έτη και συνάπτεται σχετικό CfD Επιλέγονται οι ΣΑΗΕ με τις χαμηλότερες προσφορέ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 Οι ΣΑΗΕ που θα επιλεγούν θα πρέπει να συμμετέχουν στις αγορές ηλεκτρικής ενέργειας ενώ δεν επιτρέπεται να συνάψουν PPA με ιδιώτες</a:t>
            </a:r>
            <a:r>
              <a:rPr lang="en-US" sz="1200" kern="0">
                <a:solidFill>
                  <a:srgbClr val="061E3A"/>
                </a:solidFill>
                <a:latin typeface="+mj-lt"/>
              </a:rPr>
              <a:t>.</a:t>
            </a: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Δεν επιτρέπονται οι «specific region» διαγωνισμοί παρά μόνο εάν υπάρχει σχετική μελέτη από τους Διαχειριστές και από τους πρώτους διαγωνισμούς δεν ικανοποιηθεί η σχετική απαίτηση</a:t>
            </a:r>
            <a:r>
              <a:rPr lang="en-US" sz="1200" kern="0">
                <a:solidFill>
                  <a:srgbClr val="061E3A"/>
                </a:solidFill>
                <a:latin typeface="+mj-lt"/>
              </a:rPr>
              <a:t>.</a:t>
            </a:r>
            <a:r>
              <a:rPr lang="el-GR" sz="1200" kern="0">
                <a:solidFill>
                  <a:srgbClr val="061E3A"/>
                </a:solidFill>
                <a:latin typeface="+mj-lt"/>
              </a:rPr>
              <a:t> </a:t>
            </a: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Εάν οι ΣΑΗΕ δεν έχουν ικανοποιητική συμμετοχή στις αγορές ηλεκτρικής ενέργειας τότε η λειτουργική ενίσχυση που θα λαμβάνουν δύναται να περιορίζεται</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Ανώτερη τιμή προσφοράς (με βάση τα «κοινοποιημένα» κόστη) ορίστηκε 60.000 €/MW/έτο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Ορίστηκε ελάχιστο ποσοστό 50% «oversubscription» στις ανταγωνιστικές διαδικασίε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Ο συνολικός προϋπολογισμός του μέτρου εκτιμήθηκε σε 341 εκατ. ευρώ, συμπεριλαμβανομένης της επενδυτικής επιχορήγησης (200 εκατ. ευρώ) και της ετήσιας λειτουργικής ενίσχυσης (141 εκατ. ευρώ). </a:t>
            </a: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Υποχρέωση υιοθέτησης Μηχανισμού αποφυγής υπεραποζημίωσης</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 Οι ΣΑΗΕ θα λάβουν ενίσχυση από RRF και από άλλες πηγές π.χ. ΣΔΑΜ</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r>
              <a:rPr lang="el-GR" sz="1200" kern="0">
                <a:solidFill>
                  <a:srgbClr val="061E3A"/>
                </a:solidFill>
                <a:latin typeface="+mj-lt"/>
              </a:rPr>
              <a:t>Οι ΣΑΗΕ που θα επιλεγούν και θα λάβουν ενίσχυση πρέπει να έχουν τεθεί σε λειτουργία μέχρι 31.12.2025</a:t>
            </a:r>
            <a:r>
              <a:rPr lang="en-US" sz="1200" kern="0">
                <a:solidFill>
                  <a:srgbClr val="061E3A"/>
                </a:solidFill>
                <a:latin typeface="+mj-lt"/>
              </a:rPr>
              <a:t>.</a:t>
            </a:r>
            <a:endParaRPr lang="el-GR" sz="1200" kern="0">
              <a:solidFill>
                <a:srgbClr val="061E3A"/>
              </a:solidFill>
              <a:latin typeface="+mj-lt"/>
            </a:endParaRPr>
          </a:p>
          <a:p>
            <a:pPr marL="364058" indent="-247220" algn="just">
              <a:lnSpc>
                <a:spcPct val="150000"/>
              </a:lnSpc>
              <a:buClr>
                <a:schemeClr val="accent2"/>
              </a:buClr>
              <a:buFont typeface="Wingdings" panose="05000000000000000000" pitchFamily="2" charset="2"/>
              <a:buChar char="§"/>
              <a:defRPr/>
            </a:pPr>
            <a:endParaRPr lang="el-GR" sz="1200" kern="0">
              <a:solidFill>
                <a:srgbClr val="061E3A"/>
              </a:solidFill>
              <a:latin typeface="+mj-lt"/>
            </a:endParaRPr>
          </a:p>
        </p:txBody>
      </p:sp>
      <p:sp>
        <p:nvSpPr>
          <p:cNvPr id="3" name="TextBox 2">
            <a:extLst>
              <a:ext uri="{FF2B5EF4-FFF2-40B4-BE49-F238E27FC236}">
                <a16:creationId xmlns:a16="http://schemas.microsoft.com/office/drawing/2014/main" id="{A15AAE39-FA49-0389-3EF7-95190E12AE2C}"/>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19994132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28B42A-6DE7-4700-DFD6-A587D7E7D90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AABAC78-69B4-0A36-FD79-0F453226A151}"/>
              </a:ext>
            </a:extLst>
          </p:cNvPr>
          <p:cNvSpPr>
            <a:spLocks noGrp="1"/>
          </p:cNvSpPr>
          <p:nvPr>
            <p:ph type="title"/>
          </p:nvPr>
        </p:nvSpPr>
        <p:spPr>
          <a:xfrm>
            <a:off x="443372" y="379660"/>
            <a:ext cx="11305716" cy="492443"/>
          </a:xfrm>
        </p:spPr>
        <p:txBody>
          <a:bodyPr/>
          <a:lstStyle/>
          <a:p>
            <a:r>
              <a:rPr lang="el-GR">
                <a:solidFill>
                  <a:srgbClr val="0F55F5"/>
                </a:solidFill>
              </a:rPr>
              <a:t>Βασικά σημεία ΥΑ για χορήγηση ενίσχυσης σε ΣΑΗΕ</a:t>
            </a:r>
            <a:endParaRPr lang="en-US">
              <a:solidFill>
                <a:srgbClr val="0F55F5"/>
              </a:solidFill>
            </a:endParaRPr>
          </a:p>
        </p:txBody>
      </p:sp>
      <p:sp>
        <p:nvSpPr>
          <p:cNvPr id="2" name="object 19">
            <a:extLst>
              <a:ext uri="{FF2B5EF4-FFF2-40B4-BE49-F238E27FC236}">
                <a16:creationId xmlns:a16="http://schemas.microsoft.com/office/drawing/2014/main" id="{9DE55362-64F7-3DB9-05DA-000319F2E7CA}"/>
              </a:ext>
            </a:extLst>
          </p:cNvPr>
          <p:cNvSpPr txBox="1"/>
          <p:nvPr/>
        </p:nvSpPr>
        <p:spPr>
          <a:xfrm rot="16200000">
            <a:off x="3530970" y="-1600398"/>
            <a:ext cx="5129609" cy="11305719"/>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600" b="1" kern="0">
                <a:solidFill>
                  <a:srgbClr val="061E3A"/>
                </a:solidFill>
                <a:latin typeface="+mj-lt"/>
              </a:rPr>
              <a:t> Οι σταθμοί αποθήκευσης που εντάσσονται στο μέτρο πρέπει να ολοκληρωθούν και να τεθούν σε λειτουργία έως την 31η Δεκεμβρίου 2025. </a:t>
            </a:r>
            <a:r>
              <a:rPr lang="el-GR" sz="1600" b="1" u="sng" kern="0">
                <a:solidFill>
                  <a:srgbClr val="061E3A"/>
                </a:solidFill>
                <a:latin typeface="+mj-lt"/>
              </a:rPr>
              <a:t>Με τροποποίηση της ΥΑ δόθηκε παράταση έως τον Απρίλιο 2026 για τα έργα του Γ' Διαγωνισμού.</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Ειδικότερα, με την ΥΑ καθορίζονται:</a:t>
            </a:r>
          </a:p>
          <a:p>
            <a:pPr marL="821258" lvl="1"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Ο τρόπος διενέργειας των ανταγωνιστικών διαδικασιών υποβολής προσφορών, καθώς και το μοντέλο της δημοπρασίας,</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O</a:t>
            </a:r>
            <a:r>
              <a:rPr lang="el-GR" sz="1600" kern="0">
                <a:solidFill>
                  <a:srgbClr val="061E3A"/>
                </a:solidFill>
                <a:latin typeface="+mj-lt"/>
              </a:rPr>
              <a:t> αριθμός των ανταγωνιστικών διαδικασιών υποβολής προσφορών ανά έτος,</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T</a:t>
            </a:r>
            <a:r>
              <a:rPr lang="el-GR" sz="1600" kern="0">
                <a:solidFill>
                  <a:srgbClr val="061E3A"/>
                </a:solidFill>
                <a:latin typeface="+mj-lt"/>
              </a:rPr>
              <a:t>ο χρονοδιάγραμμα υλοποίησης των ανταγωνιστικών διαδικασιών </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H</a:t>
            </a:r>
            <a:r>
              <a:rPr lang="el-GR" sz="1600" kern="0">
                <a:solidFill>
                  <a:srgbClr val="061E3A"/>
                </a:solidFill>
                <a:latin typeface="+mj-lt"/>
              </a:rPr>
              <a:t> τιμή εκκίνησης εκάστης ανταγωνιστικής διαδικασίας, </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T</a:t>
            </a:r>
            <a:r>
              <a:rPr lang="el-GR" sz="1600" kern="0">
                <a:solidFill>
                  <a:srgbClr val="061E3A"/>
                </a:solidFill>
                <a:latin typeface="+mj-lt"/>
              </a:rPr>
              <a:t>α όρια ισχύος συμμετοχής και κατακύρωσης στους συμμετέχοντες,</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H</a:t>
            </a:r>
            <a:r>
              <a:rPr lang="el-GR" sz="1600" kern="0">
                <a:solidFill>
                  <a:srgbClr val="061E3A"/>
                </a:solidFill>
                <a:latin typeface="+mj-lt"/>
              </a:rPr>
              <a:t> ισχύς ΣΑΗΕ η οποία δημοπρατείται μέσω των ανταγωνιστικών διαδικασιών υποβολής προσφορών </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T</a:t>
            </a:r>
            <a:r>
              <a:rPr lang="el-GR" sz="1600" kern="0">
                <a:solidFill>
                  <a:srgbClr val="061E3A"/>
                </a:solidFill>
                <a:latin typeface="+mj-lt"/>
              </a:rPr>
              <a:t>α ελάχιστα αποδεκτά τεχνικά χαρακτηριστικά των ΣΑΗΕ, </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O</a:t>
            </a:r>
            <a:r>
              <a:rPr lang="el-GR" sz="1600" kern="0">
                <a:solidFill>
                  <a:srgbClr val="061E3A"/>
                </a:solidFill>
                <a:latin typeface="+mj-lt"/>
              </a:rPr>
              <a:t> βαθμός αδειοδοτικής ωριμότητας των ΣΑΗΕ, οι οποίοι συμμετέχουν στις ανταγωνιστικές διαδικασίες,</a:t>
            </a:r>
            <a:endParaRPr lang="en-US" sz="1600" kern="0">
              <a:solidFill>
                <a:srgbClr val="061E3A"/>
              </a:solidFill>
              <a:latin typeface="+mj-lt"/>
            </a:endParaRP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T</a:t>
            </a:r>
            <a:r>
              <a:rPr lang="el-GR" sz="1600" kern="0">
                <a:solidFill>
                  <a:srgbClr val="061E3A"/>
                </a:solidFill>
                <a:latin typeface="+mj-lt"/>
              </a:rPr>
              <a:t>ο ύψος της επενδυτικής ενίσχυσης,</a:t>
            </a:r>
          </a:p>
          <a:p>
            <a:pPr marL="821258" lvl="1" indent="-247220" algn="just">
              <a:lnSpc>
                <a:spcPct val="150000"/>
              </a:lnSpc>
              <a:buClr>
                <a:schemeClr val="accent2"/>
              </a:buClr>
              <a:buFont typeface="Wingdings" panose="05000000000000000000" pitchFamily="2" charset="2"/>
              <a:buChar char="§"/>
              <a:defRPr/>
            </a:pPr>
            <a:r>
              <a:rPr lang="en-US" sz="1600" kern="0">
                <a:solidFill>
                  <a:srgbClr val="061E3A"/>
                </a:solidFill>
                <a:latin typeface="+mj-lt"/>
              </a:rPr>
              <a:t>H</a:t>
            </a:r>
            <a:r>
              <a:rPr lang="el-GR" sz="1600" kern="0">
                <a:solidFill>
                  <a:srgbClr val="061E3A"/>
                </a:solidFill>
                <a:latin typeface="+mj-lt"/>
              </a:rPr>
              <a:t> διάρκεια χορήγησης της λειτουργικής ενίσχυσης,</a:t>
            </a:r>
          </a:p>
        </p:txBody>
      </p:sp>
      <p:sp>
        <p:nvSpPr>
          <p:cNvPr id="3" name="TextBox 2">
            <a:extLst>
              <a:ext uri="{FF2B5EF4-FFF2-40B4-BE49-F238E27FC236}">
                <a16:creationId xmlns:a16="http://schemas.microsoft.com/office/drawing/2014/main" id="{FC8A7858-7F7B-7D2B-E46E-6F6C02A71414}"/>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4055081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917F752-89B1-CA85-3422-BF449872145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40279B0-FC98-0B2A-3F6C-E47F88DFA262}"/>
              </a:ext>
            </a:extLst>
          </p:cNvPr>
          <p:cNvSpPr>
            <a:spLocks noGrp="1"/>
          </p:cNvSpPr>
          <p:nvPr>
            <p:ph type="title"/>
          </p:nvPr>
        </p:nvSpPr>
        <p:spPr>
          <a:xfrm>
            <a:off x="443372" y="379660"/>
            <a:ext cx="11305716" cy="984885"/>
          </a:xfrm>
        </p:spPr>
        <p:txBody>
          <a:bodyPr/>
          <a:lstStyle/>
          <a:p>
            <a:r>
              <a:rPr lang="el-GR">
                <a:solidFill>
                  <a:srgbClr val="0F55F5"/>
                </a:solidFill>
              </a:rPr>
              <a:t>Στοιχεία διαγωνιστικών διαδικασιών για χορήγηση ενίσχυσης</a:t>
            </a:r>
            <a:endParaRPr lang="en-US">
              <a:solidFill>
                <a:srgbClr val="0F55F5"/>
              </a:solidFill>
            </a:endParaRPr>
          </a:p>
        </p:txBody>
      </p:sp>
      <p:sp>
        <p:nvSpPr>
          <p:cNvPr id="2" name="object 19">
            <a:extLst>
              <a:ext uri="{FF2B5EF4-FFF2-40B4-BE49-F238E27FC236}">
                <a16:creationId xmlns:a16="http://schemas.microsoft.com/office/drawing/2014/main" id="{2B3756BE-A3F7-80D3-5045-0EAD97B4EADD}"/>
              </a:ext>
            </a:extLst>
          </p:cNvPr>
          <p:cNvSpPr txBox="1"/>
          <p:nvPr/>
        </p:nvSpPr>
        <p:spPr>
          <a:xfrm rot="16200000">
            <a:off x="5239753" y="-3525125"/>
            <a:ext cx="1805623"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Οι ανταγωνιστικές διαδικασίες διενεργούνται από την Ρ.Α.Α.Ε.Υ</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Η δημοπρατούμενη ισχύς των Α’ και Β’ Ανταγωνιστικών Διαδικασιών κατανέμεται στο σύνολο του Ε.Σ.Μ.Η.Ε., πλην Κρήτης.</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Η Γ’ Ανταγωνιστική Διαδικασία αφορά ειδικώς τις </a:t>
            </a:r>
            <a:r>
              <a:rPr lang="el-GR" sz="1600" kern="0" err="1">
                <a:solidFill>
                  <a:srgbClr val="061E3A"/>
                </a:solidFill>
                <a:latin typeface="+mj-lt"/>
              </a:rPr>
              <a:t>λιγνιτικές</a:t>
            </a:r>
            <a:r>
              <a:rPr lang="el-GR" sz="1600" kern="0">
                <a:solidFill>
                  <a:srgbClr val="061E3A"/>
                </a:solidFill>
                <a:latin typeface="+mj-lt"/>
              </a:rPr>
              <a:t> περιοχές ή άλλες περιοχές μετά από μελέτη του ΑΔΜΗΕ.</a:t>
            </a:r>
          </a:p>
          <a:p>
            <a:pPr marL="364058" indent="-247220" algn="just">
              <a:lnSpc>
                <a:spcPct val="150000"/>
              </a:lnSpc>
              <a:buClr>
                <a:schemeClr val="accent2"/>
              </a:buClr>
              <a:buFont typeface="Wingdings" panose="05000000000000000000" pitchFamily="2" charset="2"/>
              <a:buChar char="§"/>
              <a:defRPr/>
            </a:pPr>
            <a:r>
              <a:rPr lang="el-GR" sz="1600" b="1" kern="0">
                <a:solidFill>
                  <a:srgbClr val="061E3A"/>
                </a:solidFill>
                <a:latin typeface="+mj-lt"/>
              </a:rPr>
              <a:t>Προβλεπόμενες ανταγωνιστικές διαδικασίες:</a:t>
            </a:r>
          </a:p>
          <a:p>
            <a:pPr marL="821258" lvl="1" indent="-247220" algn="just">
              <a:lnSpc>
                <a:spcPct val="150000"/>
              </a:lnSpc>
              <a:buClr>
                <a:schemeClr val="accent2"/>
              </a:buClr>
              <a:buFont typeface="Wingdings" panose="05000000000000000000" pitchFamily="2" charset="2"/>
              <a:buChar char="§"/>
              <a:defRPr/>
            </a:pPr>
            <a:endParaRPr lang="el-GR" sz="1600" kern="0">
              <a:solidFill>
                <a:srgbClr val="061E3A"/>
              </a:solidFill>
              <a:latin typeface="+mj-lt"/>
            </a:endParaRPr>
          </a:p>
        </p:txBody>
      </p:sp>
      <p:pic>
        <p:nvPicPr>
          <p:cNvPr id="3" name="Εικόνα 1" descr="Εικόνα που περιέχει κείμενο, στιγμιότυπο οθόνης, γραμματοσειρά, αριθμός&#10;&#10;Περιγραφή που δημιουργήθηκε αυτόματα">
            <a:extLst>
              <a:ext uri="{FF2B5EF4-FFF2-40B4-BE49-F238E27FC236}">
                <a16:creationId xmlns:a16="http://schemas.microsoft.com/office/drawing/2014/main" id="{BDF2C1EE-C2D0-160B-8BCA-7AF9C5A354A2}"/>
              </a:ext>
            </a:extLst>
          </p:cNvPr>
          <p:cNvPicPr>
            <a:picLocks noChangeAspect="1"/>
          </p:cNvPicPr>
          <p:nvPr/>
        </p:nvPicPr>
        <p:blipFill>
          <a:blip r:embed="rId3"/>
          <a:stretch>
            <a:fillRect/>
          </a:stretch>
        </p:blipFill>
        <p:spPr>
          <a:xfrm>
            <a:off x="3526732" y="3328552"/>
            <a:ext cx="4117340" cy="2435860"/>
          </a:xfrm>
          <a:prstGeom prst="rect">
            <a:avLst/>
          </a:prstGeom>
        </p:spPr>
      </p:pic>
      <p:sp>
        <p:nvSpPr>
          <p:cNvPr id="5" name="TextBox 4">
            <a:extLst>
              <a:ext uri="{FF2B5EF4-FFF2-40B4-BE49-F238E27FC236}">
                <a16:creationId xmlns:a16="http://schemas.microsoft.com/office/drawing/2014/main" id="{F42665BA-E514-745F-1158-F156F396E48F}"/>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4228929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23DE324-748B-4956-2171-9EB4A1D93A4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1193FB4-AF88-87BD-04CE-2D7E6D3798FA}"/>
              </a:ext>
            </a:extLst>
          </p:cNvPr>
          <p:cNvSpPr>
            <a:spLocks noGrp="1"/>
          </p:cNvSpPr>
          <p:nvPr>
            <p:ph type="title"/>
          </p:nvPr>
        </p:nvSpPr>
        <p:spPr>
          <a:xfrm>
            <a:off x="443372" y="379660"/>
            <a:ext cx="11305716" cy="492443"/>
          </a:xfrm>
        </p:spPr>
        <p:txBody>
          <a:bodyPr/>
          <a:lstStyle/>
          <a:p>
            <a:r>
              <a:rPr lang="el-GR">
                <a:solidFill>
                  <a:srgbClr val="0F55F5"/>
                </a:solidFill>
              </a:rPr>
              <a:t>Βασικά σημεία ανταγωνιστικών διαδικασιών (1/3)</a:t>
            </a:r>
            <a:endParaRPr lang="en-US">
              <a:solidFill>
                <a:srgbClr val="0F55F5"/>
              </a:solidFill>
            </a:endParaRPr>
          </a:p>
        </p:txBody>
      </p:sp>
      <p:sp>
        <p:nvSpPr>
          <p:cNvPr id="2" name="object 19">
            <a:extLst>
              <a:ext uri="{FF2B5EF4-FFF2-40B4-BE49-F238E27FC236}">
                <a16:creationId xmlns:a16="http://schemas.microsoft.com/office/drawing/2014/main" id="{15677354-F77A-F805-B745-69118E47FA76}"/>
              </a:ext>
            </a:extLst>
          </p:cNvPr>
          <p:cNvSpPr txBox="1"/>
          <p:nvPr/>
        </p:nvSpPr>
        <p:spPr>
          <a:xfrm rot="16200000">
            <a:off x="3119122" y="-2089731"/>
            <a:ext cx="5781070"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Ανταγωνιστικές Διαδικασίες διενεργούνται με τύπο δημοπρασίας ενός σταδίου υποβολής προσφορών (</a:t>
            </a:r>
            <a:r>
              <a:rPr lang="el-GR" sz="1400" kern="0" err="1">
                <a:solidFill>
                  <a:srgbClr val="061E3A"/>
                </a:solidFill>
                <a:latin typeface="+mj-lt"/>
              </a:rPr>
              <a:t>single-stage</a:t>
            </a:r>
            <a:r>
              <a:rPr lang="el-GR" sz="1400" kern="0">
                <a:solidFill>
                  <a:srgbClr val="061E3A"/>
                </a:solidFill>
                <a:latin typeface="+mj-lt"/>
              </a:rPr>
              <a:t> </a:t>
            </a:r>
            <a:r>
              <a:rPr lang="el-GR" sz="1400" kern="0" err="1">
                <a:solidFill>
                  <a:srgbClr val="061E3A"/>
                </a:solidFill>
                <a:latin typeface="+mj-lt"/>
              </a:rPr>
              <a:t>bidding</a:t>
            </a:r>
            <a:r>
              <a:rPr lang="el-GR" sz="1400" kern="0">
                <a:solidFill>
                  <a:srgbClr val="061E3A"/>
                </a:solidFill>
                <a:latin typeface="+mj-lt"/>
              </a:rPr>
              <a:t>).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Η οικονομική προσφορά διατυπώνεται σε (€/MW/έτος) και συνιστά το ετήσιο Έσοδο Αναφοράς του Σ.Α.Η.Ε.,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Το Ελάχιστο Ποσοστό Ανταγωνισμού κάθε Ανταγωνιστικής Διαδικασίας καθορίστηκε σε εκατό τοις εκατό (100%).</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Σε κάθε Ανταγωνιστική Διαδικασία εφαρμόζεται όριο ελάχιστου αριθμού τεσσάρων (4) συμμετεχόντων, οι οποίοι δεν αποτελούν Συνδεδεμένα ή Συνεργαζόμενα μεταξύ τους Πρόσωπα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Κάτοχοι των Ενισχυόμενων Σ.Α.Η.Ε. που επιλέγονται από την Α’ Ανταγωνιστική Διαδικασία έλαβαν επενδυτική ενίσχυση 200.000 ευρώ ανά μεγαβάτ (€/MW).</a:t>
            </a:r>
          </a:p>
          <a:p>
            <a:pPr marL="364058" indent="-247220" algn="just">
              <a:lnSpc>
                <a:spcPct val="150000"/>
              </a:lnSpc>
              <a:buClr>
                <a:schemeClr val="accent2"/>
              </a:buClr>
              <a:buFont typeface="Wingdings" panose="05000000000000000000" pitchFamily="2" charset="2"/>
              <a:buChar char="§"/>
              <a:defRPr/>
            </a:pPr>
            <a:r>
              <a:rPr lang="el-GR" sz="1400" b="1" u="sng" kern="0">
                <a:solidFill>
                  <a:srgbClr val="061E3A"/>
                </a:solidFill>
                <a:latin typeface="+mj-lt"/>
              </a:rPr>
              <a:t>Λόγω των αποτελεσμάτων του Α’ Διαγωνισμού και μείωσης </a:t>
            </a:r>
            <a:r>
              <a:rPr lang="el-GR" sz="1400" b="1" u="sng" kern="0" err="1">
                <a:solidFill>
                  <a:srgbClr val="061E3A"/>
                </a:solidFill>
                <a:latin typeface="+mj-lt"/>
              </a:rPr>
              <a:t>CapEx</a:t>
            </a:r>
            <a:r>
              <a:rPr lang="el-GR" sz="1400" b="1" u="sng" kern="0">
                <a:solidFill>
                  <a:srgbClr val="061E3A"/>
                </a:solidFill>
                <a:latin typeface="+mj-lt"/>
              </a:rPr>
              <a:t> μπαταριών η επενδυτική ενίσχυση για τον Β’ Διαγωνισμό μειώθηκε σε 100.000 €/MW/έτος</a:t>
            </a:r>
          </a:p>
          <a:p>
            <a:pPr marL="364058" indent="-247220" algn="just">
              <a:lnSpc>
                <a:spcPct val="150000"/>
              </a:lnSpc>
              <a:buClr>
                <a:schemeClr val="accent2"/>
              </a:buClr>
              <a:buFont typeface="Wingdings" panose="05000000000000000000" pitchFamily="2" charset="2"/>
              <a:buChar char="§"/>
              <a:defRPr/>
            </a:pPr>
            <a:r>
              <a:rPr lang="el-GR" sz="1400" u="sng" kern="0">
                <a:solidFill>
                  <a:srgbClr val="061E3A"/>
                </a:solidFill>
                <a:latin typeface="+mj-lt"/>
              </a:rPr>
              <a:t> Η επενδυτική ενίσχυση για τον Γ’ Διαγωνισμό ορίστηκε σε 200.000 €/MW/έτο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Τίθεται Ανώτατο όριο 100 MW στην Ισχύ Συμμετοχής </a:t>
            </a:r>
            <a:r>
              <a:rPr lang="el-GR" sz="1400" kern="0" err="1">
                <a:solidFill>
                  <a:srgbClr val="061E3A"/>
                </a:solidFill>
                <a:latin typeface="+mj-lt"/>
              </a:rPr>
              <a:t>έκαστου</a:t>
            </a:r>
            <a:r>
              <a:rPr lang="el-GR" sz="1400" kern="0">
                <a:solidFill>
                  <a:srgbClr val="061E3A"/>
                </a:solidFill>
                <a:latin typeface="+mj-lt"/>
              </a:rPr>
              <a:t> Σ.Α.Η.Ε. </a:t>
            </a:r>
          </a:p>
          <a:p>
            <a:pPr marL="364058" indent="-247220" algn="just">
              <a:lnSpc>
                <a:spcPct val="150000"/>
              </a:lnSpc>
              <a:buClr>
                <a:schemeClr val="accent2"/>
              </a:buClr>
              <a:buFont typeface="Wingdings" panose="05000000000000000000" pitchFamily="2" charset="2"/>
              <a:buChar char="§"/>
              <a:defRPr/>
            </a:pPr>
            <a:r>
              <a:rPr lang="el-GR" sz="1400" b="1" kern="0">
                <a:solidFill>
                  <a:srgbClr val="061E3A"/>
                </a:solidFill>
                <a:latin typeface="+mj-lt"/>
              </a:rPr>
              <a:t>Τίθεται Μέγιστο όριο Ισχύος Συμμετοχής ανά συμμετέχοντα σε κάθε Ανταγωνιστική Διαδικασία, το οποίο ορίζεται σε είκοσι πέντε τοις εκατό (25%) της δημοπρατούμενης ισχύο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Ανώτατη επιτρεπόμενη τιμή προσφοράς για την Α’ και Β’ Ανταγωνιστική Διαδικασία καθορίστηκε σε 115.000€/MW/έτο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Ανώτατη επιτρεπόμενη τιμή προσφοράς για την Γ' Ανταγωνιστική Διαδικασία καθορίστηκε σε 145.000€/MW/έτο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Η Περίοδος Ενίσχυσης, εντός της οποίας καταβάλλεται λειτουργική ενίσχυση στους Ενισχυόμενους Σ.Α.Η.Ε., ορίζεται σε δέκα (10) έτη. Η Περίοδος Ενίσχυσης εκκινεί από την έκδοση της άδειας λειτουργίας των Σ.Α.Η.Ε., η οποία αποτελεί προϋπόθεση για την έναρξη καταβολής της λειτουργικής ενίσχυσης.</a:t>
            </a:r>
          </a:p>
        </p:txBody>
      </p:sp>
      <p:sp>
        <p:nvSpPr>
          <p:cNvPr id="3" name="TextBox 2">
            <a:extLst>
              <a:ext uri="{FF2B5EF4-FFF2-40B4-BE49-F238E27FC236}">
                <a16:creationId xmlns:a16="http://schemas.microsoft.com/office/drawing/2014/main" id="{D47BA4E2-331E-8828-1FD0-7D9E2FCBF517}"/>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39319669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C75CBCE-067E-6745-59BF-040C8F0BD17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0F7BF2B-22DE-5022-7EDC-71D399E71016}"/>
              </a:ext>
            </a:extLst>
          </p:cNvPr>
          <p:cNvSpPr>
            <a:spLocks noGrp="1"/>
          </p:cNvSpPr>
          <p:nvPr>
            <p:ph type="title"/>
          </p:nvPr>
        </p:nvSpPr>
        <p:spPr>
          <a:xfrm>
            <a:off x="443372" y="379660"/>
            <a:ext cx="11305716" cy="492443"/>
          </a:xfrm>
        </p:spPr>
        <p:txBody>
          <a:bodyPr/>
          <a:lstStyle/>
          <a:p>
            <a:r>
              <a:rPr lang="el-GR">
                <a:solidFill>
                  <a:srgbClr val="0F55F5"/>
                </a:solidFill>
              </a:rPr>
              <a:t>Βασικά σημεία ανταγωνιστικών διαδικασιών (2/3)</a:t>
            </a:r>
            <a:endParaRPr lang="en-US">
              <a:solidFill>
                <a:srgbClr val="0F55F5"/>
              </a:solidFill>
            </a:endParaRPr>
          </a:p>
        </p:txBody>
      </p:sp>
      <p:sp>
        <p:nvSpPr>
          <p:cNvPr id="5" name="object 19">
            <a:extLst>
              <a:ext uri="{FF2B5EF4-FFF2-40B4-BE49-F238E27FC236}">
                <a16:creationId xmlns:a16="http://schemas.microsoft.com/office/drawing/2014/main" id="{A3217BC4-E988-F4AE-0593-49DEE8FDA7AB}"/>
              </a:ext>
            </a:extLst>
          </p:cNvPr>
          <p:cNvSpPr txBox="1"/>
          <p:nvPr/>
        </p:nvSpPr>
        <p:spPr>
          <a:xfrm rot="16200000">
            <a:off x="3119122" y="-2089731"/>
            <a:ext cx="5781070"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Ενισχυόμενοι Σ.Α.Η.Ε. πρέπει να διαθέτουν μέγιστη ισχύ έγχυσης &gt; 1 MW,</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Η τεχνολογία αποθήκευσης του Σ.Α.Η.Ε. να είναι ώριμη τεχνολογικά</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Ο Σ.Α.Η.Ε. να συνδέεται στο Ε.Σ.Μ.Η.Ε. και να διαθέτει την τεχνική δυνατότητα να συμμετέχει ως διακριτή οντότητα υπηρεσιών εξισορρόπησης στις αγορές ηλεκτρικής ενέργειας,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Σ.Α.Η.Ε. που συμμετέχουν στην Α’ και στη Β’ Ανταγωνιστική Διαδικασία, διαθέτουν εγγυημένη (ωφέλιμη) χωρητικότητα διάρκειας τουλάχιστον δύο (2) ωρών (</a:t>
            </a:r>
            <a:r>
              <a:rPr lang="el-GR" sz="1400" kern="0" err="1">
                <a:solidFill>
                  <a:srgbClr val="061E3A"/>
                </a:solidFill>
                <a:latin typeface="+mj-lt"/>
              </a:rPr>
              <a:t>MWh</a:t>
            </a:r>
            <a:r>
              <a:rPr lang="el-GR" sz="1400" kern="0">
                <a:solidFill>
                  <a:srgbClr val="061E3A"/>
                </a:solidFill>
                <a:latin typeface="+mj-lt"/>
              </a:rPr>
              <a:t>/MW).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Για τους συμμετέχοντες Σ.Α.Η.Ε. στη Γ’ Ανταγωνιστική Διαδικασία, τίθεται απαίτηση ελάχιστης εγγυημένης χωρητικότητας διάρκειας τεσσάρων (4) ωρών (</a:t>
            </a:r>
            <a:r>
              <a:rPr lang="el-GR" sz="1400" kern="0" err="1">
                <a:solidFill>
                  <a:srgbClr val="061E3A"/>
                </a:solidFill>
                <a:latin typeface="+mj-lt"/>
              </a:rPr>
              <a:t>MWh</a:t>
            </a:r>
            <a:r>
              <a:rPr lang="el-GR" sz="1400" kern="0">
                <a:solidFill>
                  <a:srgbClr val="061E3A"/>
                </a:solidFill>
                <a:latin typeface="+mj-lt"/>
              </a:rPr>
              <a:t>/MW).</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Δεν επιτρέπεται η χρήση </a:t>
            </a:r>
            <a:r>
              <a:rPr lang="el-GR" sz="1400" kern="0" err="1">
                <a:solidFill>
                  <a:srgbClr val="061E3A"/>
                </a:solidFill>
                <a:latin typeface="+mj-lt"/>
              </a:rPr>
              <a:t>second-life</a:t>
            </a:r>
            <a:r>
              <a:rPr lang="el-GR" sz="1400" kern="0">
                <a:solidFill>
                  <a:srgbClr val="061E3A"/>
                </a:solidFill>
                <a:latin typeface="+mj-lt"/>
              </a:rPr>
              <a:t> εξοπλισμού στους Ενισχυόμενους Σ.Α.Η.Ε.</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Αν κατά τη δοκιμαστική λειτουργία δεν τηρείται οποιαδήποτε από τις απαιτήσεις η Ρ.Α.Α.Ε.Υ., με απόφασή της, δύναται να </a:t>
            </a:r>
            <a:r>
              <a:rPr lang="el-GR" sz="1400" kern="0" err="1">
                <a:solidFill>
                  <a:srgbClr val="061E3A"/>
                </a:solidFill>
                <a:latin typeface="+mj-lt"/>
              </a:rPr>
              <a:t>απεντάξει</a:t>
            </a:r>
            <a:r>
              <a:rPr lang="el-GR" sz="1400" kern="0">
                <a:solidFill>
                  <a:srgbClr val="061E3A"/>
                </a:solidFill>
                <a:latin typeface="+mj-lt"/>
              </a:rPr>
              <a:t> τον Ενισχυόμενο Σ.Α.Η.Ε. από το σχήμα ενίσχυσης και να καταπέσει η Εγγυητική Επιστολή Έντεχνης και Έγκαιρης Εκτέλεση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Σε περίπτωση μη τήρησης των ελάχιστων τεχνικών χαρακτηριστικών, η οποία διαπιστώνεται στους περιοδικούς ελέγχους καθ’ όλη τη διάρκεια της Περιόδου Ενίσχυσης, η Ρ.Α.Α.Ε.Υ. δύναται να επιβάλλει κυρώσεις, οι οποίες περιλαμβάνουν τη μερική ή τη πλήρη κατάπτωση της Εγγυητικής Επιστολής Καλής Λειτουργίας και την </a:t>
            </a:r>
            <a:r>
              <a:rPr lang="el-GR" sz="1400" kern="0" err="1">
                <a:solidFill>
                  <a:srgbClr val="061E3A"/>
                </a:solidFill>
                <a:latin typeface="+mj-lt"/>
              </a:rPr>
              <a:t>απένταξη</a:t>
            </a:r>
            <a:r>
              <a:rPr lang="el-GR" sz="1400" kern="0">
                <a:solidFill>
                  <a:srgbClr val="061E3A"/>
                </a:solidFill>
                <a:latin typeface="+mj-lt"/>
              </a:rPr>
              <a:t> του Σ.Α.Η.Ε. από το σχήμα στήριξης,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Οι Ενισχυόμενοι Σ.Α.Η.Ε. της Α’ και της Β’ Ανταγωνιστικής Διαδικασίας δύνανται να συμμετέχουν στις Αγορές ηλεκτρικής ενέργειας είτε ως διακριτές οντότητες υπηρεσιών εξισορρόπησης, είτε εντός χαρτοφυλακίων τα οποία περιλαμβάνουν μόνο Ενισχυόμενους Σ.Α.Η.Ε. της Α’ και Β’ Ανταγωνιστικής Διαδικασίας΄(Γ’ Ανταγωνιστικής διαδικασίας διακριτά) και η συνολική μέγιστη ισχύς κάθε χαρτοφυλακίου είναι μικρότερη ή ίση των 50 MW. </a:t>
            </a:r>
          </a:p>
        </p:txBody>
      </p:sp>
      <p:sp>
        <p:nvSpPr>
          <p:cNvPr id="2" name="TextBox 1">
            <a:extLst>
              <a:ext uri="{FF2B5EF4-FFF2-40B4-BE49-F238E27FC236}">
                <a16:creationId xmlns:a16="http://schemas.microsoft.com/office/drawing/2014/main" id="{80269EE0-5074-21F7-F1FF-7E73287109B8}"/>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398512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775BD4-936C-CF38-8261-795BB7F40EA2}"/>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6974887-DCB1-B7FF-CA88-6180E7E960D7}"/>
              </a:ext>
            </a:extLst>
          </p:cNvPr>
          <p:cNvSpPr>
            <a:spLocks noGrp="1"/>
          </p:cNvSpPr>
          <p:nvPr>
            <p:ph type="sldNum" sz="quarter" idx="16"/>
          </p:nvPr>
        </p:nvSpPr>
        <p:spPr/>
        <p:txBody>
          <a:bodyPr/>
          <a:lstStyle/>
          <a:p>
            <a:fld id="{4531D9DC-ADF0-4D0A-8902-0133E3C6D94B}" type="slidenum">
              <a:rPr lang="en-US" smtClean="0"/>
              <a:pPr/>
              <a:t>5</a:t>
            </a:fld>
            <a:endParaRPr lang="en-US"/>
          </a:p>
        </p:txBody>
      </p:sp>
      <p:sp>
        <p:nvSpPr>
          <p:cNvPr id="6" name="Title 5">
            <a:extLst>
              <a:ext uri="{FF2B5EF4-FFF2-40B4-BE49-F238E27FC236}">
                <a16:creationId xmlns:a16="http://schemas.microsoft.com/office/drawing/2014/main" id="{DBD29ADC-AE5C-0946-7953-FC0046ADCEC1}"/>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Δρ. Σωτήρης Καπέλλο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1B3D9564-3205-83D0-A6B3-2ADBFD025C5F}"/>
              </a:ext>
            </a:extLst>
          </p:cNvPr>
          <p:cNvSpPr txBox="1"/>
          <p:nvPr/>
        </p:nvSpPr>
        <p:spPr>
          <a:xfrm>
            <a:off x="3852607" y="3922983"/>
            <a:ext cx="7778987" cy="1151854"/>
          </a:xfrm>
          <a:prstGeom prst="rect">
            <a:avLst/>
          </a:prstGeom>
          <a:noFill/>
        </p:spPr>
        <p:txBody>
          <a:bodyPr wrap="square">
            <a:spAutoFit/>
          </a:bodyPr>
          <a:lstStyle/>
          <a:p>
            <a:pPr marR="0"/>
            <a:r>
              <a:rPr lang="el-GR" sz="1400" b="1"/>
              <a:t>Ακαδημαϊκό υπόβαθρο </a:t>
            </a:r>
          </a:p>
          <a:p>
            <a:pPr marL="285750" marR="0" indent="-285750">
              <a:buFont typeface="Wingdings" panose="05000000000000000000" pitchFamily="2" charset="2"/>
              <a:buChar char="§"/>
            </a:pPr>
            <a:r>
              <a:rPr lang="en-US" sz="1400" err="1"/>
              <a:t>Κάτοχος</a:t>
            </a:r>
            <a:r>
              <a:rPr lang="en-US" sz="1400"/>
              <a:t> </a:t>
            </a:r>
            <a:r>
              <a:rPr lang="en-US" sz="1400" err="1"/>
              <a:t>διδ</a:t>
            </a:r>
            <a:r>
              <a:rPr lang="en-US" sz="1400"/>
              <a:t>ακτορικού διπλώματος στ</a:t>
            </a:r>
            <a:r>
              <a:rPr lang="el-GR" sz="1400"/>
              <a:t>η Φυσικοχημεία, ΕΚΠΑ (Υπότροφος ΕΜΥ, ΕΚΠΑ)</a:t>
            </a:r>
          </a:p>
          <a:p>
            <a:pPr marL="285750" marR="0" indent="-285750">
              <a:buFont typeface="Wingdings" panose="05000000000000000000" pitchFamily="2" charset="2"/>
              <a:buChar char="§"/>
            </a:pPr>
            <a:r>
              <a:rPr lang="en-US" sz="1400"/>
              <a:t>Visiting Specialist in Chemistry, Michigan State University</a:t>
            </a:r>
          </a:p>
          <a:p>
            <a:pPr marL="285750" marR="0" indent="-285750">
              <a:buFont typeface="Wingdings" panose="05000000000000000000" pitchFamily="2" charset="2"/>
              <a:buChar char="§"/>
            </a:pPr>
            <a:r>
              <a:rPr lang="el-GR" sz="1400"/>
              <a:t>Χημικός, ΕΚΠΑ</a:t>
            </a:r>
            <a:endParaRPr lang="en-US" sz="1400"/>
          </a:p>
          <a:p>
            <a:pPr marL="0" marR="0">
              <a:lnSpc>
                <a:spcPct val="115000"/>
              </a:lnSpc>
              <a:spcAft>
                <a:spcPts val="800"/>
              </a:spcAft>
              <a:buNone/>
            </a:pPr>
            <a:endParaRPr lang="en-US" sz="1200"/>
          </a:p>
        </p:txBody>
      </p:sp>
      <p:sp>
        <p:nvSpPr>
          <p:cNvPr id="9" name="TextBox 8">
            <a:extLst>
              <a:ext uri="{FF2B5EF4-FFF2-40B4-BE49-F238E27FC236}">
                <a16:creationId xmlns:a16="http://schemas.microsoft.com/office/drawing/2014/main" id="{8C3AADF5-8745-9E42-B6D2-BF945549D109}"/>
              </a:ext>
            </a:extLst>
          </p:cNvPr>
          <p:cNvSpPr txBox="1"/>
          <p:nvPr/>
        </p:nvSpPr>
        <p:spPr>
          <a:xfrm>
            <a:off x="3852607" y="2250195"/>
            <a:ext cx="8256237" cy="954107"/>
          </a:xfrm>
          <a:prstGeom prst="rect">
            <a:avLst/>
          </a:prstGeom>
          <a:noFill/>
        </p:spPr>
        <p:txBody>
          <a:bodyPr wrap="square">
            <a:spAutoFit/>
          </a:bodyPr>
          <a:lstStyle/>
          <a:p>
            <a:pPr marL="285750" marR="0" indent="-285750">
              <a:buClr>
                <a:srgbClr val="002060"/>
              </a:buClr>
              <a:buFont typeface="Wingdings" panose="05000000000000000000" pitchFamily="2" charset="2"/>
              <a:buChar char="§"/>
            </a:pPr>
            <a:r>
              <a:rPr lang="el-GR" sz="1400">
                <a:latin typeface="The Wave Sans TT (Body)"/>
              </a:rPr>
              <a:t>Επικεφαλής </a:t>
            </a:r>
            <a:r>
              <a:rPr lang="en-US" sz="1400">
                <a:latin typeface="The Wave Sans TT (Body)"/>
              </a:rPr>
              <a:t>Business Unit</a:t>
            </a:r>
            <a:r>
              <a:rPr lang="el-GR" sz="1400">
                <a:latin typeface="The Wave Sans TT (Body)"/>
              </a:rPr>
              <a:t> των ΑΠΕ της </a:t>
            </a:r>
            <a:r>
              <a:rPr lang="en-US" sz="1400">
                <a:latin typeface="The Wave Sans TT (Body)"/>
              </a:rPr>
              <a:t>Helleniq Energy </a:t>
            </a:r>
            <a:br>
              <a:rPr lang="en-US" sz="1400">
                <a:latin typeface="The Wave Sans TT (Body)"/>
              </a:rPr>
            </a:br>
            <a:r>
              <a:rPr lang="en-US" sz="1400">
                <a:latin typeface="The Wave Sans TT (Body)"/>
              </a:rPr>
              <a:t>(Chief Operating Officer Helleniq Renewables)</a:t>
            </a:r>
          </a:p>
          <a:p>
            <a:pPr marL="285750" marR="0" indent="-285750">
              <a:buClr>
                <a:srgbClr val="002060"/>
              </a:buClr>
              <a:buFont typeface="Wingdings" panose="05000000000000000000" pitchFamily="2" charset="2"/>
              <a:buChar char="§"/>
            </a:pPr>
            <a:r>
              <a:rPr lang="en-US" sz="1400" err="1">
                <a:latin typeface="The Wave Sans TT (Body)"/>
              </a:rPr>
              <a:t>Προέδρο</a:t>
            </a:r>
            <a:r>
              <a:rPr lang="el-GR" sz="1400">
                <a:latin typeface="The Wave Sans TT (Body)"/>
              </a:rPr>
              <a:t>ς</a:t>
            </a:r>
            <a:r>
              <a:rPr lang="en-US" sz="1400">
                <a:latin typeface="The Wave Sans TT (Body)"/>
              </a:rPr>
              <a:t> </a:t>
            </a:r>
            <a:r>
              <a:rPr lang="en-US" sz="1400" err="1">
                <a:latin typeface="The Wave Sans TT (Body)"/>
              </a:rPr>
              <a:t>της</a:t>
            </a:r>
            <a:r>
              <a:rPr lang="en-US" sz="1400">
                <a:latin typeface="The Wave Sans TT (Body)"/>
              </a:rPr>
              <a:t> Επ</a:t>
            </a:r>
            <a:r>
              <a:rPr lang="en-US" sz="1400" err="1">
                <a:latin typeface="The Wave Sans TT (Body)"/>
              </a:rPr>
              <a:t>ιτρο</a:t>
            </a:r>
            <a:r>
              <a:rPr lang="en-US" sz="1400">
                <a:latin typeface="The Wave Sans TT (Body)"/>
              </a:rPr>
              <a:t>πής Ενέργειας του Ελληνο-</a:t>
            </a:r>
            <a:r>
              <a:rPr lang="el-GR" sz="1400">
                <a:latin typeface="The Wave Sans TT (Body)"/>
              </a:rPr>
              <a:t>Γερμανικού</a:t>
            </a:r>
            <a:r>
              <a:rPr lang="en-US" sz="1400">
                <a:latin typeface="The Wave Sans TT (Body)"/>
              </a:rPr>
              <a:t> </a:t>
            </a:r>
            <a:r>
              <a:rPr lang="en-US" sz="1400" err="1">
                <a:latin typeface="The Wave Sans TT (Body)"/>
              </a:rPr>
              <a:t>Εμ</a:t>
            </a:r>
            <a:r>
              <a:rPr lang="en-US" sz="1400">
                <a:latin typeface="The Wave Sans TT (Body)"/>
              </a:rPr>
              <a:t>πορικού Επιμελητηρίου</a:t>
            </a:r>
          </a:p>
          <a:p>
            <a:pPr marL="285750" marR="0" indent="-285750">
              <a:buClr>
                <a:srgbClr val="002060"/>
              </a:buClr>
              <a:buFont typeface="Wingdings" panose="05000000000000000000" pitchFamily="2" charset="2"/>
              <a:buChar char="§"/>
            </a:pPr>
            <a:r>
              <a:rPr lang="en-US" sz="1400" err="1">
                <a:latin typeface="The Wave Sans TT (Body)"/>
              </a:rPr>
              <a:t>Μέλος</a:t>
            </a:r>
            <a:r>
              <a:rPr lang="en-US" sz="1400">
                <a:latin typeface="The Wave Sans TT (Body)"/>
              </a:rPr>
              <a:t> </a:t>
            </a:r>
            <a:r>
              <a:rPr lang="en-US" sz="1400" err="1">
                <a:latin typeface="The Wave Sans TT (Body)"/>
              </a:rPr>
              <a:t>Διοικητικού</a:t>
            </a:r>
            <a:r>
              <a:rPr lang="en-US" sz="1400">
                <a:latin typeface="The Wave Sans TT (Body)"/>
              </a:rPr>
              <a:t> </a:t>
            </a:r>
            <a:r>
              <a:rPr lang="en-US" sz="1400" err="1">
                <a:latin typeface="The Wave Sans TT (Body)"/>
              </a:rPr>
              <a:t>Συμ</a:t>
            </a:r>
            <a:r>
              <a:rPr lang="en-US" sz="1400">
                <a:latin typeface="The Wave Sans TT (Body)"/>
              </a:rPr>
              <a:t>βουλίου τ</a:t>
            </a:r>
            <a:r>
              <a:rPr lang="el-GR" sz="1400">
                <a:latin typeface="The Wave Sans TT (Body)"/>
              </a:rPr>
              <a:t>ου Συνδέσμου Εταιριών </a:t>
            </a:r>
            <a:r>
              <a:rPr lang="el-GR" sz="1400" err="1">
                <a:latin typeface="The Wave Sans TT (Body)"/>
              </a:rPr>
              <a:t>Φωτοβολταϊκών</a:t>
            </a:r>
            <a:r>
              <a:rPr lang="el-GR" sz="1400">
                <a:latin typeface="The Wave Sans TT (Body)"/>
              </a:rPr>
              <a:t> (</a:t>
            </a:r>
            <a:r>
              <a:rPr lang="en-US" sz="1400">
                <a:latin typeface="The Wave Sans TT (Body)"/>
              </a:rPr>
              <a:t>HELAPCO)</a:t>
            </a:r>
          </a:p>
        </p:txBody>
      </p:sp>
      <p:pic>
        <p:nvPicPr>
          <p:cNvPr id="4" name="Picture 3" descr="A person in a suit and tie&#10;&#10;AI-generated content may be incorrect.">
            <a:extLst>
              <a:ext uri="{FF2B5EF4-FFF2-40B4-BE49-F238E27FC236}">
                <a16:creationId xmlns:a16="http://schemas.microsoft.com/office/drawing/2014/main" id="{66EB020A-F4A1-9093-0B30-72724682BED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03128" y="2125690"/>
            <a:ext cx="2058037" cy="3093340"/>
          </a:xfrm>
          <a:prstGeom prst="rect">
            <a:avLst/>
          </a:prstGeom>
        </p:spPr>
      </p:pic>
    </p:spTree>
    <p:extLst>
      <p:ext uri="{BB962C8B-B14F-4D97-AF65-F5344CB8AC3E}">
        <p14:creationId xmlns:p14="http://schemas.microsoft.com/office/powerpoint/2010/main" val="31563930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031BED8-1672-62F0-AF15-B0D2AE5E003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1B0D3CA-E371-831D-9830-04F2A7CF96EB}"/>
              </a:ext>
            </a:extLst>
          </p:cNvPr>
          <p:cNvSpPr>
            <a:spLocks noGrp="1"/>
          </p:cNvSpPr>
          <p:nvPr>
            <p:ph type="title"/>
          </p:nvPr>
        </p:nvSpPr>
        <p:spPr>
          <a:xfrm>
            <a:off x="443372" y="379660"/>
            <a:ext cx="11305716" cy="492443"/>
          </a:xfrm>
        </p:spPr>
        <p:txBody>
          <a:bodyPr/>
          <a:lstStyle/>
          <a:p>
            <a:r>
              <a:rPr lang="el-GR">
                <a:solidFill>
                  <a:srgbClr val="0F55F5"/>
                </a:solidFill>
              </a:rPr>
              <a:t>Βασικά σημεία ανταγωνιστικών διαδικασιών (3/3)</a:t>
            </a:r>
            <a:endParaRPr lang="en-US">
              <a:solidFill>
                <a:srgbClr val="0F55F5"/>
              </a:solidFill>
            </a:endParaRPr>
          </a:p>
        </p:txBody>
      </p:sp>
      <p:sp>
        <p:nvSpPr>
          <p:cNvPr id="5" name="object 19">
            <a:extLst>
              <a:ext uri="{FF2B5EF4-FFF2-40B4-BE49-F238E27FC236}">
                <a16:creationId xmlns:a16="http://schemas.microsoft.com/office/drawing/2014/main" id="{F24E2474-8BB1-57D9-005B-5D3D9A2B0816}"/>
              </a:ext>
            </a:extLst>
          </p:cNvPr>
          <p:cNvSpPr txBox="1"/>
          <p:nvPr/>
        </p:nvSpPr>
        <p:spPr>
          <a:xfrm rot="16200000">
            <a:off x="3603870" y="-2568198"/>
            <a:ext cx="4811574"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Ενισχυόμενοι Σ.Α.Η.Ε. υποχρεούνται να παρέχουν κατά προτεραιότητα υπηρεσίες, όπως ενδεικτικά η αποσυμφόρηση των δικτύων με στόχο την αύξηση του περιθωρίου υποδοχής ισχύος Α.Π.Ε., </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 Κάτοχος του Ενισχυόμενου Σ.Α.Η.Ε. δε δύναται να προβεί σε </a:t>
            </a:r>
            <a:r>
              <a:rPr lang="el-GR" sz="1400" kern="0" err="1">
                <a:solidFill>
                  <a:srgbClr val="061E3A"/>
                </a:solidFill>
                <a:latin typeface="+mj-lt"/>
              </a:rPr>
              <a:t>απένταξη</a:t>
            </a:r>
            <a:r>
              <a:rPr lang="el-GR" sz="1400" kern="0">
                <a:solidFill>
                  <a:srgbClr val="061E3A"/>
                </a:solidFill>
                <a:latin typeface="+mj-lt"/>
              </a:rPr>
              <a:t> του Σ.Α.Η.Ε. από το σχήμα στήριξης πριν από τη λήξη της Περιόδου Ενίσχυση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Ενισχυόμενοι Σ.Α.Η.Ε. δε δύνανται να προβούν σε μεταβολή της μέγιστης ισχύος έγχυσης ή της εγγυημένης χωρητικότητάς τους κατά τη διάρκεια της Περιόδου Ενίσχυση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Κάτοχοι των Ενισχυόμενων Σ.Α.Η.Ε. οφείλουν να καταθέτουν στη Ρ.Α.Α.Ε.Υ., ετησίως καθ’ όλη τη διάρκεια της Περιόδου Ενίσχυσης, δήλωση στην οποία βεβαιώνουν ότι δεν έχουν στην κατοχή τους, οι ίδιοι και οι Συνδεδεμένες ή Συνεργαζόμενες με αυτούς Επιχειρήσεις:</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α) Ενισχυόμενους Σ.Α.Η.Ε. από την Α’ και τη Β’ Ανταγωνιστική Διαδικασία ισχύος μεγαλύτερης των 100 MW,</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β) Ενισχυόμενους Σ.Α.Η.Ε. από τη Γ’ Ανταγωνιστική Διαδικασία ισχύος μεγαλύτερης του 25% της </a:t>
            </a:r>
            <a:r>
              <a:rPr lang="el-GR" sz="1400" kern="0" err="1">
                <a:solidFill>
                  <a:srgbClr val="061E3A"/>
                </a:solidFill>
                <a:latin typeface="+mj-lt"/>
              </a:rPr>
              <a:t>δημοπρατηθείσας</a:t>
            </a:r>
            <a:r>
              <a:rPr lang="el-GR" sz="1400" kern="0">
                <a:solidFill>
                  <a:srgbClr val="061E3A"/>
                </a:solidFill>
                <a:latin typeface="+mj-lt"/>
              </a:rPr>
              <a:t> ισχύος στην εν λόγω Ανταγωνιστική Διαδικασία.</a:t>
            </a:r>
          </a:p>
          <a:p>
            <a:pPr marL="364058" indent="-24722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Σε περίπτωση παράβασης αυτού, η Ρ.Α.Α.Ε.Υ. δύναται να επιβάλλει κυρώσεις στον Κάτοχο του Ενισχυόμενου Σ.Α.Η.Ε., οι οποίες περιλαμβάνουν τη μερική ή πλήρη κατάπτωση των αντίστοιχων εγγυητικών επιστολών, την πλήρη </a:t>
            </a:r>
            <a:r>
              <a:rPr lang="el-GR" sz="1400" kern="0" err="1">
                <a:solidFill>
                  <a:srgbClr val="061E3A"/>
                </a:solidFill>
                <a:latin typeface="+mj-lt"/>
              </a:rPr>
              <a:t>απένταξη</a:t>
            </a:r>
            <a:r>
              <a:rPr lang="el-GR" sz="1400" kern="0">
                <a:solidFill>
                  <a:srgbClr val="061E3A"/>
                </a:solidFill>
                <a:latin typeface="+mj-lt"/>
              </a:rPr>
              <a:t> του Σ.Α.Η.Ε. από το καθεστώς ενίσχυσης, με καταγγελία της Σύμβασης Λειτουργικής Ενίσχυσής του από τον Διαχειριστή Α.Π.Ε. και Εγγυήσεων Προέλευσης, ή και άλλες κυρώσεις, σύμφωνα με τα ειδικότερα οριζόμενα στην Προκήρυξη της Ανταγωνιστικής Διαδικασίας.</a:t>
            </a:r>
          </a:p>
        </p:txBody>
      </p:sp>
      <p:sp>
        <p:nvSpPr>
          <p:cNvPr id="2" name="TextBox 1">
            <a:extLst>
              <a:ext uri="{FF2B5EF4-FFF2-40B4-BE49-F238E27FC236}">
                <a16:creationId xmlns:a16="http://schemas.microsoft.com/office/drawing/2014/main" id="{C2CCA66D-96ED-C5BE-1D1D-B588FF1DDD05}"/>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24196128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91516A6-BFAB-1870-3181-4D39EF25424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49FF7D9-C65F-6099-DB7F-7F24DF072340}"/>
              </a:ext>
            </a:extLst>
          </p:cNvPr>
          <p:cNvSpPr>
            <a:spLocks noGrp="1"/>
          </p:cNvSpPr>
          <p:nvPr>
            <p:ph type="title"/>
          </p:nvPr>
        </p:nvSpPr>
        <p:spPr>
          <a:xfrm>
            <a:off x="443372" y="379660"/>
            <a:ext cx="11305716" cy="492443"/>
          </a:xfrm>
        </p:spPr>
        <p:txBody>
          <a:bodyPr/>
          <a:lstStyle/>
          <a:p>
            <a:r>
              <a:rPr lang="el-GR">
                <a:solidFill>
                  <a:srgbClr val="0F55F5"/>
                </a:solidFill>
              </a:rPr>
              <a:t>Εγγυητικές Επιστολές</a:t>
            </a:r>
            <a:endParaRPr lang="en-US">
              <a:solidFill>
                <a:srgbClr val="0F55F5"/>
              </a:solidFill>
            </a:endParaRPr>
          </a:p>
        </p:txBody>
      </p:sp>
      <p:sp>
        <p:nvSpPr>
          <p:cNvPr id="5" name="object 19">
            <a:extLst>
              <a:ext uri="{FF2B5EF4-FFF2-40B4-BE49-F238E27FC236}">
                <a16:creationId xmlns:a16="http://schemas.microsoft.com/office/drawing/2014/main" id="{8C0EA981-1F50-43C7-88AD-0DA5B6B93339}"/>
              </a:ext>
            </a:extLst>
          </p:cNvPr>
          <p:cNvSpPr txBox="1"/>
          <p:nvPr/>
        </p:nvSpPr>
        <p:spPr>
          <a:xfrm rot="16200000">
            <a:off x="3629518" y="-2270481"/>
            <a:ext cx="4760278"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Για τη λήψη της επενδυτικής ενίσχυσης, ο Κάτοχος του Ενισχυόμενου Σ.Α.Η.Ε. υποχρεούται να καταθέσει Εγγυητική Επιστολή Έντεχνης και Έγκαιρης Εκτέλεσης,  ίση με το ύψος της επενδυτικής ενίσχυσης που λαμβάνουν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Οι Κάτοχοι Ενισχυόμενων Σ.Α.Η.Ε. καταθέτουν Εγγυητική Επιστολή Καλής Λειτουργίας πριν από την έκδοση της άδειας λειτουργίας των έργων και ως προϋπόθεση για την έκδοση αυτής, η οποία εκδίδεται υπέρ του ΔΑΠΕΕΠ, έχει ισχύ για όλη την Περίοδο Ενίσχυσης και καταπίπτει υπέρ του ΥΛ Σ.Α.Η.Ε του ΕΛΑΠΕ.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Η Εγγυητική Επιστολή Έντεχνης και Έγκαιρης Εκτέλεσης επιστρέφεται στους Κατόχους Ενισχυόμενων Σ.Α.Η.Ε., αφού κατατεθεί η Εγγυητική Επιστολή Καλής Λειτουργίας.</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Για Ενισχυόμενους Σ.Α.Η.Ε. που επιλέγονται από την Α’ , </a:t>
            </a:r>
            <a:r>
              <a:rPr lang="el-GR" sz="1600" kern="0" err="1">
                <a:solidFill>
                  <a:srgbClr val="061E3A"/>
                </a:solidFill>
                <a:latin typeface="+mj-lt"/>
              </a:rPr>
              <a:t>Β΄και</a:t>
            </a:r>
            <a:r>
              <a:rPr lang="el-GR" sz="1600" kern="0">
                <a:solidFill>
                  <a:srgbClr val="061E3A"/>
                </a:solidFill>
                <a:latin typeface="+mj-lt"/>
              </a:rPr>
              <a:t> Γ' Ανταγωνιστική Διαδικασία, η Εγγυητική Επιστολή Καλής Λειτουργίας ανέρχεται στο ποσό των 200.000 €/MW, 150.000 €/MW και 200.000 €/MW αντίστοιχα.</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Με τη συμπλήρωση πέντε (5) ετών λειτουργίας το ύψος της Εγγυητικής Επιστολής Καλής Λειτουργίας </a:t>
            </a:r>
            <a:r>
              <a:rPr lang="el-GR" sz="1600" kern="0" err="1">
                <a:solidFill>
                  <a:srgbClr val="061E3A"/>
                </a:solidFill>
                <a:latin typeface="+mj-lt"/>
              </a:rPr>
              <a:t>απομειώνεται</a:t>
            </a:r>
            <a:r>
              <a:rPr lang="el-GR" sz="1600" kern="0">
                <a:solidFill>
                  <a:srgbClr val="061E3A"/>
                </a:solidFill>
                <a:latin typeface="+mj-lt"/>
              </a:rPr>
              <a:t> στο ήμισυ, ήτοι 100.000 €/MW και 75.000 €/MW αντίστοιχα. Η Εγγυητική Επιστολή Καλής Λειτουργίας επιστρέφεται στους Κατόχους Σ.Α.Η.Ε. εντός έξι (6) μηνών από τη λήξη της Περιόδου Ενίσχυσης.</a:t>
            </a:r>
          </a:p>
          <a:p>
            <a:pPr marL="364058" indent="-247220" algn="just">
              <a:lnSpc>
                <a:spcPct val="150000"/>
              </a:lnSpc>
              <a:buClr>
                <a:schemeClr val="accent2"/>
              </a:buClr>
              <a:buFont typeface="Wingdings" panose="05000000000000000000" pitchFamily="2" charset="2"/>
              <a:buChar char="§"/>
              <a:defRPr/>
            </a:pPr>
            <a:endParaRPr lang="el-GR" sz="1600" kern="0">
              <a:solidFill>
                <a:srgbClr val="061E3A"/>
              </a:solidFill>
              <a:latin typeface="+mj-lt"/>
            </a:endParaRPr>
          </a:p>
        </p:txBody>
      </p:sp>
      <p:sp>
        <p:nvSpPr>
          <p:cNvPr id="2" name="TextBox 1">
            <a:extLst>
              <a:ext uri="{FF2B5EF4-FFF2-40B4-BE49-F238E27FC236}">
                <a16:creationId xmlns:a16="http://schemas.microsoft.com/office/drawing/2014/main" id="{1D457F3F-29E3-4632-E45B-005CEC5B7A67}"/>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31876064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91A4507-7B99-FF3D-C1C2-C3622BC18C2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01BE3FB-AB53-CA03-407E-7ACFD7E26360}"/>
              </a:ext>
            </a:extLst>
          </p:cNvPr>
          <p:cNvSpPr>
            <a:spLocks noGrp="1"/>
          </p:cNvSpPr>
          <p:nvPr>
            <p:ph type="title"/>
          </p:nvPr>
        </p:nvSpPr>
        <p:spPr>
          <a:xfrm>
            <a:off x="443372" y="379660"/>
            <a:ext cx="11305716" cy="492443"/>
          </a:xfrm>
        </p:spPr>
        <p:txBody>
          <a:bodyPr/>
          <a:lstStyle/>
          <a:p>
            <a:r>
              <a:rPr lang="el-GR">
                <a:solidFill>
                  <a:srgbClr val="0F55F5"/>
                </a:solidFill>
              </a:rPr>
              <a:t>Μεθοδολογία αποζημίωσης ΣΑΗΕ</a:t>
            </a:r>
            <a:endParaRPr lang="en-US">
              <a:solidFill>
                <a:srgbClr val="0F55F5"/>
              </a:solidFill>
            </a:endParaRPr>
          </a:p>
        </p:txBody>
      </p:sp>
      <p:sp>
        <p:nvSpPr>
          <p:cNvPr id="5" name="object 19">
            <a:extLst>
              <a:ext uri="{FF2B5EF4-FFF2-40B4-BE49-F238E27FC236}">
                <a16:creationId xmlns:a16="http://schemas.microsoft.com/office/drawing/2014/main" id="{C033022D-8AC7-BDFE-92FA-5875E171069A}"/>
              </a:ext>
            </a:extLst>
          </p:cNvPr>
          <p:cNvSpPr txBox="1"/>
          <p:nvPr/>
        </p:nvSpPr>
        <p:spPr>
          <a:xfrm rot="16200000">
            <a:off x="3998849" y="-2568198"/>
            <a:ext cx="4021614" cy="11584963"/>
          </a:xfrm>
          <a:prstGeom prst="rect">
            <a:avLst/>
          </a:prstGeom>
        </p:spPr>
        <p:txBody>
          <a:bodyPr vert="vert" wrap="square" lIns="0" tIns="0" rIns="0" bIns="0" rtlCol="0">
            <a:spAutoFit/>
          </a:bodyPr>
          <a:lstStyle/>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Συνάπτεται Σύμβαση Λειτουργικής Ενίσχυσης Σ.Α.Η.Ε. μεταξύ του Κατόχου του Ενισχυόμενου Σ.Α.Η.Ε. και του ΔΑΠΕΕΠ</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Συγκροτούνται Ομάδες Έργων στις οποίες εντάσσονται οι Ενισχυόμενοι Σ.Α.Η.Ε., καθώς και Σ.Α.Η.Ε. που δεν εντάσσονται στο καθεστώς ενίσχυσης, εφόσον διαθέτουν παραπλήσια με τους Ενισχυόμενους Σ.Α.Η.Ε. χαρακτηριστικά.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Ενισχυόμενοι Σ.Α.Η.Ε. που επιλέχθηκαν στην Α’ και στη Β’ Ανταγωνιστική Διαδικασία εντάσσονται σε κοινή Ομάδα Έργων, ενώ Ενισχυόμενοι Σ.Α.Η.Ε. που επιλέχθηκαν στη Γ’ Ανταγωνιστική Διαδικασία εντάσσονται σε διαφορετική Ομάδα.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Μη ενισχυόμενοι Σ.Α.Η.Ε., οι οποίοι συμμετέχουν στις Αγορές Ηλεκτρικής Ενέργειας εντασσόμενοι σε χαρτοφυλάκια, δεν λαμβάνονται υπόψη στους υπολογισμούς του πρώτου εδαφίου και δεν συμπεριλαμβάνονται στις Ομάδες Σ.Α.Η.Ε.</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 Η διάρκεια της Ρυθμιστικής Περιόδου δεν δύναται να υπερβαίνει τα τρία (3) έτη               1η ΡΠ εκκινεί την 1/1/2026 </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Η Ρ.Α.Α.Ε.Υ. ορίζει τα Εκτιμώμενα Έσοδα Αγορών της κάθε Ομάδας Έργων («</a:t>
            </a:r>
            <a:r>
              <a:rPr lang="el-GR" sz="1600" kern="0" err="1">
                <a:solidFill>
                  <a:srgbClr val="061E3A"/>
                </a:solidFill>
                <a:latin typeface="+mj-lt"/>
              </a:rPr>
              <a:t>ex-ante</a:t>
            </a:r>
            <a:r>
              <a:rPr lang="el-GR" sz="1600" kern="0">
                <a:solidFill>
                  <a:srgbClr val="061E3A"/>
                </a:solidFill>
                <a:latin typeface="+mj-lt"/>
              </a:rPr>
              <a:t> ΕΤΑ») για την επόμενη Ρυθμιστική Περίοδο, κατόπιν σχετικής εισήγησης του ΔΑΠΕΕΠ. </a:t>
            </a:r>
          </a:p>
          <a:p>
            <a:pPr marL="364058" indent="-247220" algn="just">
              <a:lnSpc>
                <a:spcPct val="150000"/>
              </a:lnSpc>
              <a:buClr>
                <a:schemeClr val="accent2"/>
              </a:buClr>
              <a:buFont typeface="Wingdings" panose="05000000000000000000" pitchFamily="2" charset="2"/>
              <a:buChar char="§"/>
              <a:defRPr/>
            </a:pPr>
            <a:endParaRPr lang="el-GR" sz="1600" kern="0">
              <a:solidFill>
                <a:srgbClr val="061E3A"/>
              </a:solidFill>
              <a:latin typeface="+mj-lt"/>
            </a:endParaRPr>
          </a:p>
        </p:txBody>
      </p:sp>
      <p:sp>
        <p:nvSpPr>
          <p:cNvPr id="2" name="TextBox 1">
            <a:extLst>
              <a:ext uri="{FF2B5EF4-FFF2-40B4-BE49-F238E27FC236}">
                <a16:creationId xmlns:a16="http://schemas.microsoft.com/office/drawing/2014/main" id="{534746C5-8536-F5F5-F851-13B85138F06C}"/>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19150087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6A89CE4-5ABB-0FC9-F25C-CBE4951C478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36C7861-9AE3-A2D6-78F3-20BBC93D447F}"/>
              </a:ext>
            </a:extLst>
          </p:cNvPr>
          <p:cNvSpPr>
            <a:spLocks noGrp="1"/>
          </p:cNvSpPr>
          <p:nvPr>
            <p:ph type="title"/>
          </p:nvPr>
        </p:nvSpPr>
        <p:spPr>
          <a:xfrm>
            <a:off x="443372" y="379660"/>
            <a:ext cx="11305716" cy="492443"/>
          </a:xfrm>
        </p:spPr>
        <p:txBody>
          <a:bodyPr/>
          <a:lstStyle/>
          <a:p>
            <a:r>
              <a:rPr lang="el-GR">
                <a:solidFill>
                  <a:srgbClr val="0F55F5"/>
                </a:solidFill>
              </a:rPr>
              <a:t>Μεθοδολογία αποζημίωσης ΣΑΗΕ – Κίνητρα και κυρώσεις</a:t>
            </a:r>
            <a:endParaRPr lang="en-US">
              <a:solidFill>
                <a:srgbClr val="0F55F5"/>
              </a:solidFill>
            </a:endParaRPr>
          </a:p>
        </p:txBody>
      </p:sp>
      <p:sp>
        <p:nvSpPr>
          <p:cNvPr id="5" name="object 19">
            <a:extLst>
              <a:ext uri="{FF2B5EF4-FFF2-40B4-BE49-F238E27FC236}">
                <a16:creationId xmlns:a16="http://schemas.microsoft.com/office/drawing/2014/main" id="{C252C54A-5D42-C683-10EB-34F8D9AF09BA}"/>
              </a:ext>
            </a:extLst>
          </p:cNvPr>
          <p:cNvSpPr txBox="1"/>
          <p:nvPr/>
        </p:nvSpPr>
        <p:spPr>
          <a:xfrm rot="16200000">
            <a:off x="3629518" y="-2568198"/>
            <a:ext cx="4760278" cy="11584963"/>
          </a:xfrm>
          <a:prstGeom prst="rect">
            <a:avLst/>
          </a:prstGeom>
        </p:spPr>
        <p:txBody>
          <a:bodyPr vert="vert" wrap="square" lIns="0" tIns="0" rIns="0" bIns="0" rtlCol="0">
            <a:spAutoFit/>
          </a:bodyPr>
          <a:lstStyle/>
          <a:p>
            <a:pPr marL="116838" algn="just">
              <a:lnSpc>
                <a:spcPct val="150000"/>
              </a:lnSpc>
              <a:buClr>
                <a:schemeClr val="accent2"/>
              </a:buClr>
              <a:defRPr/>
            </a:pPr>
            <a:r>
              <a:rPr lang="el-GR" sz="1600" b="1" kern="0">
                <a:solidFill>
                  <a:srgbClr val="061E3A"/>
                </a:solidFill>
                <a:latin typeface="+mj-lt"/>
              </a:rPr>
              <a:t>Παράδειγμα 1</a:t>
            </a:r>
            <a:r>
              <a:rPr lang="el-GR" sz="1600" b="1" kern="0" baseline="30000">
                <a:solidFill>
                  <a:srgbClr val="061E3A"/>
                </a:solidFill>
                <a:latin typeface="+mj-lt"/>
              </a:rPr>
              <a:t>ο</a:t>
            </a:r>
            <a:r>
              <a:rPr lang="en-US" sz="1600" b="1" kern="0">
                <a:solidFill>
                  <a:srgbClr val="061E3A"/>
                </a:solidFill>
                <a:latin typeface="+mj-lt"/>
              </a:rPr>
              <a:t>:</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εκκίνησης διαγωνισμού 115.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Προσφοράς Συμμετέχοντας = 45.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a:t>
            </a:r>
            <a:r>
              <a:rPr lang="en-US" sz="1600" kern="0">
                <a:solidFill>
                  <a:srgbClr val="061E3A"/>
                </a:solidFill>
                <a:latin typeface="+mj-lt"/>
              </a:rPr>
              <a:t>ex-post ETA" = 30.000 €/</a:t>
            </a:r>
            <a:r>
              <a:rPr lang="el-GR" sz="1600" kern="0">
                <a:solidFill>
                  <a:srgbClr val="061E3A"/>
                </a:solidFill>
                <a:latin typeface="+mj-lt"/>
              </a:rPr>
              <a:t>Μ</a:t>
            </a:r>
            <a:r>
              <a:rPr lang="en-US" sz="1600" kern="0">
                <a:solidFill>
                  <a:srgbClr val="061E3A"/>
                </a:solidFill>
                <a:latin typeface="+mj-lt"/>
              </a:rPr>
              <a:t>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Έσοδα Παραγωγού από αγορά = 34.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ελικά έσοδα Παραγωγού = 15.000 €/</a:t>
            </a:r>
            <a:r>
              <a:rPr lang="en-US" sz="1600" kern="0">
                <a:solidFill>
                  <a:srgbClr val="061E3A"/>
                </a:solidFill>
                <a:latin typeface="+mj-lt"/>
              </a:rPr>
              <a:t>MW/y + 34.000 €/MW/y = 49.000 €/MW/y</a:t>
            </a:r>
          </a:p>
          <a:p>
            <a:pPr marL="116838" algn="just">
              <a:lnSpc>
                <a:spcPct val="150000"/>
              </a:lnSpc>
              <a:buClr>
                <a:schemeClr val="accent2"/>
              </a:buClr>
              <a:defRPr/>
            </a:pPr>
            <a:r>
              <a:rPr lang="el-GR" sz="1600" b="1" kern="0">
                <a:solidFill>
                  <a:srgbClr val="061E3A"/>
                </a:solidFill>
                <a:latin typeface="+mj-lt"/>
              </a:rPr>
              <a:t>Παράδειγμα 2</a:t>
            </a:r>
            <a:r>
              <a:rPr lang="en-US" sz="1600" b="1" kern="0">
                <a:solidFill>
                  <a:srgbClr val="061E3A"/>
                </a:solidFill>
                <a:latin typeface="+mj-lt"/>
              </a:rPr>
              <a:t>o:</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εκκίνησης διαγωνισμού 115.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Προσφοράς Συμμετέχοντας = 1.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ιμή "</a:t>
            </a:r>
            <a:r>
              <a:rPr lang="en-US" sz="1600" kern="0">
                <a:solidFill>
                  <a:srgbClr val="061E3A"/>
                </a:solidFill>
                <a:latin typeface="+mj-lt"/>
              </a:rPr>
              <a:t>ex-post ETA" = 30.000 €/</a:t>
            </a:r>
            <a:r>
              <a:rPr lang="el-GR" sz="1600" kern="0">
                <a:solidFill>
                  <a:srgbClr val="061E3A"/>
                </a:solidFill>
                <a:latin typeface="+mj-lt"/>
              </a:rPr>
              <a:t>Μ</a:t>
            </a:r>
            <a:r>
              <a:rPr lang="en-US" sz="1600" kern="0">
                <a:solidFill>
                  <a:srgbClr val="061E3A"/>
                </a:solidFill>
                <a:latin typeface="+mj-lt"/>
              </a:rPr>
              <a:t>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Έσοδα Παραγωγού από αγορά = 31.000 €/</a:t>
            </a:r>
            <a:r>
              <a:rPr lang="en-US" sz="1600" kern="0">
                <a:solidFill>
                  <a:srgbClr val="061E3A"/>
                </a:solidFill>
                <a:latin typeface="+mj-lt"/>
              </a:rPr>
              <a:t>MW/y</a:t>
            </a:r>
          </a:p>
          <a:p>
            <a:pPr marL="364058" indent="-24722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ελικά έσοδα Παραγωγού = 31.000 €/</a:t>
            </a:r>
            <a:r>
              <a:rPr lang="en-US" sz="1600" kern="0">
                <a:solidFill>
                  <a:srgbClr val="061E3A"/>
                </a:solidFill>
                <a:latin typeface="+mj-lt"/>
              </a:rPr>
              <a:t>MW/y - 29.000 €/MW/y = 2.000 €/MW/y</a:t>
            </a:r>
          </a:p>
          <a:p>
            <a:pPr marL="364058" indent="-247220" algn="just">
              <a:lnSpc>
                <a:spcPct val="150000"/>
              </a:lnSpc>
              <a:buClr>
                <a:schemeClr val="accent2"/>
              </a:buClr>
              <a:buFont typeface="Wingdings" panose="05000000000000000000" pitchFamily="2" charset="2"/>
              <a:buChar char="§"/>
              <a:defRPr/>
            </a:pPr>
            <a:endParaRPr lang="el-GR" sz="1600" kern="0">
              <a:solidFill>
                <a:srgbClr val="061E3A"/>
              </a:solidFill>
              <a:latin typeface="+mj-lt"/>
            </a:endParaRPr>
          </a:p>
        </p:txBody>
      </p:sp>
      <p:sp>
        <p:nvSpPr>
          <p:cNvPr id="2" name="TextBox 1">
            <a:extLst>
              <a:ext uri="{FF2B5EF4-FFF2-40B4-BE49-F238E27FC236}">
                <a16:creationId xmlns:a16="http://schemas.microsoft.com/office/drawing/2014/main" id="{A7F4D279-2067-54BF-2BAE-6C93E782890D}"/>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3724850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873AA98-F916-4674-A7BE-556E8E6D087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ACF7BA2-C4F5-030B-9073-C70B46E0E084}"/>
              </a:ext>
            </a:extLst>
          </p:cNvPr>
          <p:cNvSpPr>
            <a:spLocks noGrp="1"/>
          </p:cNvSpPr>
          <p:nvPr>
            <p:ph type="title"/>
          </p:nvPr>
        </p:nvSpPr>
        <p:spPr>
          <a:xfrm>
            <a:off x="443372" y="379660"/>
            <a:ext cx="11305716" cy="492443"/>
          </a:xfrm>
        </p:spPr>
        <p:txBody>
          <a:bodyPr/>
          <a:lstStyle/>
          <a:p>
            <a:r>
              <a:rPr lang="el-GR">
                <a:solidFill>
                  <a:srgbClr val="0F55F5"/>
                </a:solidFill>
              </a:rPr>
              <a:t>Μεθοδολογία αποζημίωσης ΣΑΗΕ</a:t>
            </a:r>
            <a:endParaRPr lang="en-US">
              <a:solidFill>
                <a:srgbClr val="0F55F5"/>
              </a:solidFill>
            </a:endParaRPr>
          </a:p>
        </p:txBody>
      </p:sp>
      <p:sp>
        <p:nvSpPr>
          <p:cNvPr id="5" name="object 19">
            <a:extLst>
              <a:ext uri="{FF2B5EF4-FFF2-40B4-BE49-F238E27FC236}">
                <a16:creationId xmlns:a16="http://schemas.microsoft.com/office/drawing/2014/main" id="{BF17EA1A-263A-938C-1A68-08624F624B38}"/>
              </a:ext>
            </a:extLst>
          </p:cNvPr>
          <p:cNvSpPr txBox="1"/>
          <p:nvPr/>
        </p:nvSpPr>
        <p:spPr>
          <a:xfrm rot="16200000">
            <a:off x="3550359" y="-2170908"/>
            <a:ext cx="4811574" cy="11584963"/>
          </a:xfrm>
          <a:prstGeom prst="rect">
            <a:avLst/>
          </a:prstGeom>
        </p:spPr>
        <p:txBody>
          <a:bodyPr vert="vert" wrap="square" lIns="0" tIns="0" rIns="0" bIns="0" rtlCol="0">
            <a:spAutoFit/>
          </a:bodyPr>
          <a:lstStyle/>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Το Εκτιμώμενο Έσοδο Αγορών Ομάδων Σ.Α.Η.Ε. για κάθε έτος y της επόμενης ΡΠ και Ομάδα j, </a:t>
            </a:r>
            <a:r>
              <a:rPr lang="el-GR" sz="1400" kern="0" err="1">
                <a:solidFill>
                  <a:srgbClr val="061E3A"/>
                </a:solidFill>
                <a:latin typeface="+mj-lt"/>
              </a:rPr>
              <a:t>EMRj,y</a:t>
            </a:r>
            <a:r>
              <a:rPr lang="el-GR" sz="1400" kern="0">
                <a:solidFill>
                  <a:srgbClr val="061E3A"/>
                </a:solidFill>
                <a:latin typeface="+mj-lt"/>
              </a:rPr>
              <a:t>, προσδιορίζεται κατά το Έτος Υπολογισμού λαμβάνοντας υπόψη το Καθαρό Έσοδο Αγοράς Σ.Α.Η.Ε. προηγούμενων ΡΠ, τις πρόσθετες υπηρεσίες που καλούνται να παράσχουν οι Ενισχυόμενοι Σ.Α.Η.Ε., τις εκτιμώμενες τιμές εκκαθάρισης των Αγορών Ηλεκτρικής Ενέργειας και όποιες άλλες παραμέτρους επηρεάζουν το έσοδο αυτό </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O υπολογισμός του Εκτιμώμενου Εσόδου Αγορών Ομάδων Σ.Α.Η.Ε. πραγματοποιείται διακριτά για κάθε έτος της ΡΠ και δύναται να </a:t>
            </a:r>
            <a:r>
              <a:rPr lang="el-GR" sz="1400" kern="0" err="1">
                <a:solidFill>
                  <a:srgbClr val="061E3A"/>
                </a:solidFill>
                <a:latin typeface="+mj-lt"/>
              </a:rPr>
              <a:t>επικαιροποιείται</a:t>
            </a:r>
            <a:r>
              <a:rPr lang="el-GR" sz="1400" kern="0">
                <a:solidFill>
                  <a:srgbClr val="061E3A"/>
                </a:solidFill>
                <a:latin typeface="+mj-lt"/>
              </a:rPr>
              <a:t> εκτάκτως από τη Ρ.Α.Α.Ε.Υ. κατά τη διάρκεια της ΡΠ, </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Η ανά έτος λειτουργική ενίσχυση, εκφρασμένη σε €/MW, υπολογίζεται </a:t>
            </a:r>
            <a:r>
              <a:rPr lang="el-GR" sz="1400" b="1" kern="0">
                <a:solidFill>
                  <a:srgbClr val="061E3A"/>
                </a:solidFill>
                <a:latin typeface="+mj-lt"/>
              </a:rPr>
              <a:t>διακριτά ανά Ενισχυόμενο Σ.Α.Η.Ε. πριν από την έναρξη της εκάστοτε Ρυθμιστικής Περιόδου, ως η διαφορά των Εκτιμώμενων Εσόδων Αγορών της Ομάδας Έργων («</a:t>
            </a:r>
            <a:r>
              <a:rPr lang="el-GR" sz="1400" b="1" kern="0" err="1">
                <a:solidFill>
                  <a:srgbClr val="061E3A"/>
                </a:solidFill>
                <a:latin typeface="+mj-lt"/>
              </a:rPr>
              <a:t>ex-ante</a:t>
            </a:r>
            <a:r>
              <a:rPr lang="el-GR" sz="1400" b="1" kern="0">
                <a:solidFill>
                  <a:srgbClr val="061E3A"/>
                </a:solidFill>
                <a:latin typeface="+mj-lt"/>
              </a:rPr>
              <a:t> ΕΤΑ»), στην οποία αυτός εντάσσεται, από το Έσοδο Αναφοράς του. </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Η Αρχικά Απαιτούμενη Ενίσχυση Σ.Α.Η.Ε. του έτους y, εκφρασμένη σε €/ΜW, υπολογίζεται διακριτά ανά Ενισχυόμενο Σ.Α.Η.Ε. i (</a:t>
            </a:r>
            <a:r>
              <a:rPr lang="el-GR" sz="1400" kern="0" err="1">
                <a:solidFill>
                  <a:srgbClr val="061E3A"/>
                </a:solidFill>
                <a:latin typeface="+mj-lt"/>
              </a:rPr>
              <a:t>ExAOAi,y</a:t>
            </a:r>
            <a:r>
              <a:rPr lang="el-GR" sz="1400" kern="0">
                <a:solidFill>
                  <a:srgbClr val="061E3A"/>
                </a:solidFill>
                <a:latin typeface="+mj-lt"/>
              </a:rPr>
              <a:t> – </a:t>
            </a:r>
            <a:r>
              <a:rPr lang="el-GR" sz="1400" kern="0" err="1">
                <a:solidFill>
                  <a:srgbClr val="061E3A"/>
                </a:solidFill>
                <a:latin typeface="+mj-lt"/>
              </a:rPr>
              <a:t>Ex</a:t>
            </a:r>
            <a:r>
              <a:rPr lang="el-GR" sz="1400" kern="0">
                <a:solidFill>
                  <a:srgbClr val="061E3A"/>
                </a:solidFill>
                <a:latin typeface="+mj-lt"/>
              </a:rPr>
              <a:t> </a:t>
            </a:r>
            <a:r>
              <a:rPr lang="el-GR" sz="1400" kern="0" err="1">
                <a:solidFill>
                  <a:srgbClr val="061E3A"/>
                </a:solidFill>
                <a:latin typeface="+mj-lt"/>
              </a:rPr>
              <a:t>Ante</a:t>
            </a:r>
            <a:r>
              <a:rPr lang="el-GR" sz="1400" kern="0">
                <a:solidFill>
                  <a:srgbClr val="061E3A"/>
                </a:solidFill>
                <a:latin typeface="+mj-lt"/>
              </a:rPr>
              <a:t> </a:t>
            </a:r>
            <a:r>
              <a:rPr lang="el-GR" sz="1400" kern="0" err="1">
                <a:solidFill>
                  <a:srgbClr val="061E3A"/>
                </a:solidFill>
                <a:latin typeface="+mj-lt"/>
              </a:rPr>
              <a:t>Operating</a:t>
            </a:r>
            <a:r>
              <a:rPr lang="el-GR" sz="1400" kern="0">
                <a:solidFill>
                  <a:srgbClr val="061E3A"/>
                </a:solidFill>
                <a:latin typeface="+mj-lt"/>
              </a:rPr>
              <a:t> </a:t>
            </a:r>
            <a:r>
              <a:rPr lang="el-GR" sz="1400" kern="0" err="1">
                <a:solidFill>
                  <a:srgbClr val="061E3A"/>
                </a:solidFill>
                <a:latin typeface="+mj-lt"/>
              </a:rPr>
              <a:t>Aid</a:t>
            </a:r>
            <a:r>
              <a:rPr lang="el-GR" sz="1400" kern="0">
                <a:solidFill>
                  <a:srgbClr val="061E3A"/>
                </a:solidFill>
                <a:latin typeface="+mj-lt"/>
              </a:rPr>
              <a:t>) ως η διαφορά του Εκτιμώμενου Εσόδου Αγορών της Ομάδας Έργων στην οποία αυτός εντάσσεται (</a:t>
            </a:r>
            <a:r>
              <a:rPr lang="el-GR" sz="1400" kern="0" err="1">
                <a:solidFill>
                  <a:srgbClr val="061E3A"/>
                </a:solidFill>
                <a:latin typeface="+mj-lt"/>
              </a:rPr>
              <a:t>EMRj,y</a:t>
            </a:r>
            <a:r>
              <a:rPr lang="el-GR" sz="1400" kern="0">
                <a:solidFill>
                  <a:srgbClr val="061E3A"/>
                </a:solidFill>
                <a:latin typeface="+mj-lt"/>
              </a:rPr>
              <a:t>) από το Έσοδο Αναφοράς του συγκεκριμένου έργου </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Τυχόν επενδυτική, λειτουργική ή άλλου είδους ενίσχυση, </a:t>
            </a:r>
            <a:r>
              <a:rPr lang="el-GR" sz="1400" kern="0" err="1">
                <a:solidFill>
                  <a:srgbClr val="061E3A"/>
                </a:solidFill>
                <a:latin typeface="+mj-lt"/>
              </a:rPr>
              <a:t>απομειώνουν</a:t>
            </a:r>
            <a:r>
              <a:rPr lang="el-GR" sz="1400" kern="0">
                <a:solidFill>
                  <a:srgbClr val="061E3A"/>
                </a:solidFill>
                <a:latin typeface="+mj-lt"/>
              </a:rPr>
              <a:t> ισόποσα το ετήσιο Έσοδο Αναφοράς του σταθμού, με επιτόκιο αναγωγής 8%</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Οι χρεοπιστώσεις των ποσών της λειτουργικής ενίσχυσης πραγματοποιούνται σε μηνιαία βάση από τον ΔΑΠΕΕΠ</a:t>
            </a:r>
          </a:p>
        </p:txBody>
      </p:sp>
      <p:sp>
        <p:nvSpPr>
          <p:cNvPr id="2" name="TextBox 1">
            <a:extLst>
              <a:ext uri="{FF2B5EF4-FFF2-40B4-BE49-F238E27FC236}">
                <a16:creationId xmlns:a16="http://schemas.microsoft.com/office/drawing/2014/main" id="{6538D2F9-03C9-CC97-2468-15E74BE1666E}"/>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5967306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6E79530-822A-034B-6810-BA3F644881D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2ED841D-FB6F-EE83-0BDD-76972931A465}"/>
              </a:ext>
            </a:extLst>
          </p:cNvPr>
          <p:cNvSpPr>
            <a:spLocks noGrp="1"/>
          </p:cNvSpPr>
          <p:nvPr>
            <p:ph type="title"/>
          </p:nvPr>
        </p:nvSpPr>
        <p:spPr>
          <a:xfrm>
            <a:off x="443372" y="379660"/>
            <a:ext cx="11305716" cy="492443"/>
          </a:xfrm>
        </p:spPr>
        <p:txBody>
          <a:bodyPr/>
          <a:lstStyle/>
          <a:p>
            <a:r>
              <a:rPr lang="el-GR">
                <a:solidFill>
                  <a:srgbClr val="0F55F5"/>
                </a:solidFill>
              </a:rPr>
              <a:t>Μεθοδολογία αποζημίωσης ΣΑΗΕ</a:t>
            </a:r>
            <a:endParaRPr lang="en-US">
              <a:solidFill>
                <a:srgbClr val="0F55F5"/>
              </a:solidFill>
            </a:endParaRPr>
          </a:p>
        </p:txBody>
      </p:sp>
      <p:sp>
        <p:nvSpPr>
          <p:cNvPr id="5" name="object 19">
            <a:extLst>
              <a:ext uri="{FF2B5EF4-FFF2-40B4-BE49-F238E27FC236}">
                <a16:creationId xmlns:a16="http://schemas.microsoft.com/office/drawing/2014/main" id="{382C08D1-C70F-69CC-B6AC-1DE411F462CE}"/>
              </a:ext>
            </a:extLst>
          </p:cNvPr>
          <p:cNvSpPr txBox="1"/>
          <p:nvPr/>
        </p:nvSpPr>
        <p:spPr>
          <a:xfrm rot="16200000">
            <a:off x="3550359" y="-2170908"/>
            <a:ext cx="4811574" cy="11584963"/>
          </a:xfrm>
          <a:prstGeom prst="rect">
            <a:avLst/>
          </a:prstGeom>
        </p:spPr>
        <p:txBody>
          <a:bodyPr vert="vert" wrap="square" lIns="0" tIns="0" rIns="0" bIns="0" rtlCol="0">
            <a:spAutoFit/>
          </a:bodyPr>
          <a:lstStyle/>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Υπολογίζονται από ΡΑΑΕΥ τα </a:t>
            </a:r>
            <a:r>
              <a:rPr lang="el-GR" sz="1400" b="1" kern="0">
                <a:solidFill>
                  <a:srgbClr val="061E3A"/>
                </a:solidFill>
                <a:latin typeface="+mj-lt"/>
              </a:rPr>
              <a:t>Απολογιστικά Έσοδα Αγορών της κάθε Ομάδας Έργων («</a:t>
            </a:r>
            <a:r>
              <a:rPr lang="el-GR" sz="1400" b="1" kern="0" err="1">
                <a:solidFill>
                  <a:srgbClr val="061E3A"/>
                </a:solidFill>
                <a:latin typeface="+mj-lt"/>
              </a:rPr>
              <a:t>ex</a:t>
            </a:r>
            <a:r>
              <a:rPr lang="el-GR" sz="1400" b="1" kern="0">
                <a:solidFill>
                  <a:srgbClr val="061E3A"/>
                </a:solidFill>
                <a:latin typeface="+mj-lt"/>
              </a:rPr>
              <a:t>-post ΕΤΑ»), </a:t>
            </a:r>
            <a:r>
              <a:rPr lang="el-GR" sz="1400" kern="0">
                <a:solidFill>
                  <a:srgbClr val="061E3A"/>
                </a:solidFill>
                <a:latin typeface="+mj-lt"/>
              </a:rPr>
              <a:t>λαμβάνοντας υπόψη το Καθαρό Έσοδο Αγοράς του συνόλου των ΣΑΗΕ της κάθε Ομάδας Έργων, κατόπιν εισήγησης του ΔΑΠΕΕΠ.</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 Το Καθαρό Έσοδο Αγοράς Σ.Α.Η.Ε. υπολογίζεται σε €/MW για το σύνολο των έργων της κάθε Ομάδας, ως το πηλίκο του αθροίσματος των καθαρών εσόδων όλων των Σ.Α.Η.Ε. της Ομάδας (σε €) προς το άθροισμα της Ισχύος Συμμετοχής των Σ.Α.Η.Ε. αυτών (σε MW), </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Εάν τα </a:t>
            </a:r>
            <a:r>
              <a:rPr lang="el-GR" sz="1400" b="1" kern="0">
                <a:solidFill>
                  <a:srgbClr val="061E3A"/>
                </a:solidFill>
                <a:latin typeface="+mj-lt"/>
              </a:rPr>
              <a:t>Απολογιστικά Έσοδα Αγορών Ομάδας Έργων («</a:t>
            </a:r>
            <a:r>
              <a:rPr lang="el-GR" sz="1400" b="1" kern="0" err="1">
                <a:solidFill>
                  <a:srgbClr val="061E3A"/>
                </a:solidFill>
                <a:latin typeface="+mj-lt"/>
              </a:rPr>
              <a:t>ex</a:t>
            </a:r>
            <a:r>
              <a:rPr lang="el-GR" sz="1400" b="1" kern="0">
                <a:solidFill>
                  <a:srgbClr val="061E3A"/>
                </a:solidFill>
                <a:latin typeface="+mj-lt"/>
              </a:rPr>
              <a:t>-post ΕΤΑ») προκύψουν χαμηλότερα από τα Εκτιμώμενα Έσοδα Αγορών («</a:t>
            </a:r>
            <a:r>
              <a:rPr lang="el-GR" sz="1400" b="1" kern="0" err="1">
                <a:solidFill>
                  <a:srgbClr val="061E3A"/>
                </a:solidFill>
                <a:latin typeface="+mj-lt"/>
              </a:rPr>
              <a:t>ex-ante</a:t>
            </a:r>
            <a:r>
              <a:rPr lang="el-GR" sz="1400" b="1" kern="0">
                <a:solidFill>
                  <a:srgbClr val="061E3A"/>
                </a:solidFill>
                <a:latin typeface="+mj-lt"/>
              </a:rPr>
              <a:t> ΕΤΑ»)</a:t>
            </a:r>
            <a:r>
              <a:rPr lang="el-GR" sz="1400" kern="0">
                <a:solidFill>
                  <a:srgbClr val="061E3A"/>
                </a:solidFill>
                <a:latin typeface="+mj-lt"/>
              </a:rPr>
              <a:t> της συγκεκριμένης Ομάδας, οι Κάτοχοι Ενισχυόμενων Σ.Α.Η.Ε. της συγκεκριμένης Ομάδας πιστώνονται τη διαφορά σε ποσοστό 100% με δαπάνη του ΥΛ Σ.Α.Η.Ε του ΕΛΑΠΕ. </a:t>
            </a:r>
          </a:p>
          <a:p>
            <a:pPr marL="402588" indent="-285750" algn="just">
              <a:lnSpc>
                <a:spcPct val="150000"/>
              </a:lnSpc>
              <a:buClr>
                <a:schemeClr val="accent2"/>
              </a:buClr>
              <a:buFont typeface="Wingdings" panose="05000000000000000000" pitchFamily="2" charset="2"/>
              <a:buChar char="§"/>
              <a:defRPr/>
            </a:pPr>
            <a:r>
              <a:rPr lang="el-GR" sz="1400" b="1" kern="0">
                <a:solidFill>
                  <a:srgbClr val="061E3A"/>
                </a:solidFill>
                <a:latin typeface="+mj-lt"/>
              </a:rPr>
              <a:t>Όταν καταστούν διαθέσιμα τα απολογιστικά στοιχεία λειτουργίας των Σ.Α.Η.Ε., η ετήσια λειτουργική ενίσχυση εκάστου Ενισχυόμενου Σ.Α.Η.Ε. εκκαθαρίζεται,</a:t>
            </a:r>
          </a:p>
          <a:p>
            <a:pPr marL="402588" indent="-285750" algn="just">
              <a:lnSpc>
                <a:spcPct val="150000"/>
              </a:lnSpc>
              <a:buClr>
                <a:schemeClr val="accent2"/>
              </a:buClr>
              <a:buFont typeface="Wingdings" panose="05000000000000000000" pitchFamily="2" charset="2"/>
              <a:buChar char="§"/>
              <a:defRPr/>
            </a:pPr>
            <a:r>
              <a:rPr lang="el-GR" sz="1400" kern="0">
                <a:solidFill>
                  <a:srgbClr val="061E3A"/>
                </a:solidFill>
                <a:latin typeface="+mj-lt"/>
              </a:rPr>
              <a:t> Εάν τα Απολογιστικά Έσοδα Αγορών Ομάδας Έργων προκύψουν υψηλότερα των Εκτιμώμενων Εσόδων Αγορών της αντίστοιχης Ομάδας, οι Κάτοχοι Ενισχυόμενων Σ.Α.Η.Ε. της συγκεκριμένης Ομάδας επιστρέφουν το σύνολο της διαφοράς στον ΥΛ Σ.Α.Η.Ε.</a:t>
            </a:r>
          </a:p>
          <a:p>
            <a:pPr marL="402588" indent="-285750" algn="just">
              <a:lnSpc>
                <a:spcPct val="150000"/>
              </a:lnSpc>
              <a:buClr>
                <a:schemeClr val="accent2"/>
              </a:buClr>
              <a:buFont typeface="Wingdings" panose="05000000000000000000" pitchFamily="2" charset="2"/>
              <a:buChar char="§"/>
              <a:defRPr/>
            </a:pPr>
            <a:r>
              <a:rPr lang="el-GR" sz="1400" b="1" kern="0">
                <a:solidFill>
                  <a:srgbClr val="061E3A"/>
                </a:solidFill>
                <a:latin typeface="+mj-lt"/>
              </a:rPr>
              <a:t>Κατά το Έτος Υπολογισμού (τελευταίο έτος της τρέχουσας κάθε φορά ΡΠ, κατά το οποίο διενεργούνται οι υπολογισμοί που αφορούν την επόμενη ΡΠ) καθορίζεται το Εκτιμώμενο Έσοδο Αγορών και η Αρχικά Απαιτούμενη Ενίσχυση για κάθε έτος της προσεχούς ΡΠ και λαμβάνει χώρα η εκκαθάριση της Αναπροσαρμογής Απαιτούμενης Ενίσχυσης Σ.Α.Η.Ε. κατά τα τρία (3) προηγούμενα πλήρη έτη, ήτοι, τα δύο (2) πρώτα έτη της τρέχουσας ΡΠ και το τελευταίο της προηγούμενης ΡΠ</a:t>
            </a:r>
            <a:r>
              <a:rPr lang="el-GR" sz="1400" kern="0">
                <a:solidFill>
                  <a:srgbClr val="061E3A"/>
                </a:solidFill>
                <a:latin typeface="+mj-lt"/>
              </a:rPr>
              <a:t>. </a:t>
            </a:r>
          </a:p>
        </p:txBody>
      </p:sp>
      <p:sp>
        <p:nvSpPr>
          <p:cNvPr id="2" name="TextBox 1">
            <a:extLst>
              <a:ext uri="{FF2B5EF4-FFF2-40B4-BE49-F238E27FC236}">
                <a16:creationId xmlns:a16="http://schemas.microsoft.com/office/drawing/2014/main" id="{E46FFE65-CF3F-F1AC-6595-3B6FBD769FFD}"/>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30402844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0FEC3EF-2AF8-EB39-E42D-78CE40EE37A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4C04FBD-E56D-E580-81DC-CFAFB010C81F}"/>
              </a:ext>
            </a:extLst>
          </p:cNvPr>
          <p:cNvSpPr>
            <a:spLocks noGrp="1"/>
          </p:cNvSpPr>
          <p:nvPr>
            <p:ph type="title"/>
          </p:nvPr>
        </p:nvSpPr>
        <p:spPr>
          <a:xfrm>
            <a:off x="443372" y="379660"/>
            <a:ext cx="11305716" cy="492443"/>
          </a:xfrm>
        </p:spPr>
        <p:txBody>
          <a:bodyPr/>
          <a:lstStyle/>
          <a:p>
            <a:r>
              <a:rPr lang="el-GR">
                <a:solidFill>
                  <a:srgbClr val="0F55F5"/>
                </a:solidFill>
              </a:rPr>
              <a:t>Μεθοδολογία αποζημίωσης ΣΑΗΕ – Κίνητρα και κυρώσεις</a:t>
            </a:r>
            <a:endParaRPr lang="en-US">
              <a:solidFill>
                <a:srgbClr val="0F55F5"/>
              </a:solidFill>
            </a:endParaRPr>
          </a:p>
        </p:txBody>
      </p:sp>
      <p:sp>
        <p:nvSpPr>
          <p:cNvPr id="4" name="Content Placeholder 8">
            <a:extLst>
              <a:ext uri="{FF2B5EF4-FFF2-40B4-BE49-F238E27FC236}">
                <a16:creationId xmlns:a16="http://schemas.microsoft.com/office/drawing/2014/main" id="{BE04D783-AA55-EC68-78D6-0DC7DA175BDF}"/>
              </a:ext>
            </a:extLst>
          </p:cNvPr>
          <p:cNvSpPr txBox="1">
            <a:spLocks/>
          </p:cNvSpPr>
          <p:nvPr/>
        </p:nvSpPr>
        <p:spPr>
          <a:xfrm>
            <a:off x="1752599" y="6553200"/>
            <a:ext cx="10182447"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a:t>
            </a:r>
            <a:r>
              <a:rPr lang="el-GR" sz="1400" b="0"/>
              <a:t>ΡΑΑΕΥ</a:t>
            </a:r>
          </a:p>
          <a:p>
            <a:pPr algn="r"/>
            <a:endParaRPr lang="en-US" sz="1400" b="0"/>
          </a:p>
        </p:txBody>
      </p:sp>
      <p:sp>
        <p:nvSpPr>
          <p:cNvPr id="5" name="object 19">
            <a:extLst>
              <a:ext uri="{FF2B5EF4-FFF2-40B4-BE49-F238E27FC236}">
                <a16:creationId xmlns:a16="http://schemas.microsoft.com/office/drawing/2014/main" id="{8DD5364B-8309-E1DE-BEFA-022D84AFBCF9}"/>
              </a:ext>
            </a:extLst>
          </p:cNvPr>
          <p:cNvSpPr txBox="1"/>
          <p:nvPr/>
        </p:nvSpPr>
        <p:spPr>
          <a:xfrm rot="16200000">
            <a:off x="3629518" y="-2164160"/>
            <a:ext cx="4760278" cy="11584963"/>
          </a:xfrm>
          <a:prstGeom prst="rect">
            <a:avLst/>
          </a:prstGeom>
        </p:spPr>
        <p:txBody>
          <a:bodyPr vert="vert" wrap="square" lIns="0" tIns="0" rIns="0" bIns="0" rtlCol="0">
            <a:spAutoFit/>
          </a:bodyPr>
          <a:lstStyle/>
          <a:p>
            <a:pPr marL="402588" indent="-285750" algn="just">
              <a:lnSpc>
                <a:spcPct val="150000"/>
              </a:lnSpc>
              <a:buClr>
                <a:schemeClr val="accent2"/>
              </a:buClr>
              <a:buFont typeface="Wingdings" panose="05000000000000000000" pitchFamily="2" charset="2"/>
              <a:buChar char="§"/>
              <a:defRPr/>
            </a:pPr>
            <a:r>
              <a:rPr lang="el-GR" sz="1600" b="1" kern="0">
                <a:solidFill>
                  <a:srgbClr val="061E3A"/>
                </a:solidFill>
                <a:latin typeface="+mj-lt"/>
              </a:rPr>
              <a:t>Τυχόν απόκλιση μεταξύ του διακριτού Καθαρού Εσόδου Αγοράς κάθε Ενισχυόμενου Σ.Α.Η.Ε. και των Απολογιστικών Εσόδων Αγορών της Ομάδας Έργων («</a:t>
            </a:r>
            <a:r>
              <a:rPr lang="el-GR" sz="1600" b="1" kern="0" err="1">
                <a:solidFill>
                  <a:srgbClr val="061E3A"/>
                </a:solidFill>
                <a:latin typeface="+mj-lt"/>
              </a:rPr>
              <a:t>ex</a:t>
            </a:r>
            <a:r>
              <a:rPr lang="el-GR" sz="1600" b="1" kern="0">
                <a:solidFill>
                  <a:srgbClr val="061E3A"/>
                </a:solidFill>
                <a:latin typeface="+mj-lt"/>
              </a:rPr>
              <a:t>-post ETA») στην οποία αυτός ανήκει, δεν λαμβάνεται υπόψη στον υπολογισμό της λειτουργικής ενίσχυσης του Σ.Α.Η.Ε. </a:t>
            </a:r>
          </a:p>
          <a:p>
            <a:pPr marL="402588" indent="-285750" algn="just">
              <a:lnSpc>
                <a:spcPct val="150000"/>
              </a:lnSpc>
              <a:buClr>
                <a:schemeClr val="accent2"/>
              </a:buClr>
              <a:buFont typeface="Wingdings" panose="05000000000000000000" pitchFamily="2" charset="2"/>
              <a:buChar char="§"/>
              <a:defRPr/>
            </a:pPr>
            <a:r>
              <a:rPr lang="el-GR" sz="1600" kern="0">
                <a:solidFill>
                  <a:srgbClr val="061E3A"/>
                </a:solidFill>
                <a:latin typeface="+mj-lt"/>
              </a:rPr>
              <a:t>Το κατ’ έτος επιτρεπόμενο έσοδο κάθε Ενισχυόμενου Σ.Α.Η.Ε. τροποποιείται με την εφαρμογή κινήτρων για την επίτευξη κατά το δυνατόν αποδοτικότερης συμμετοχής του Σ.Α.Η.Ε. στις Αγορές ηλεκτρικής ενέργειας. Ο Μηχανισμός Κινήτρων Αποδοτικής Δραστηριοποίησης περιλαμβάνεται στη Μεθοδολογία Ετήσιας Ενίσχυσης Σ.Α.Η.Ε., που καθορίζεται με απόφαση της Ρ.Α.Α.Ε.Υ.,</a:t>
            </a:r>
          </a:p>
          <a:p>
            <a:pPr marL="402588" indent="-285750" algn="just">
              <a:lnSpc>
                <a:spcPct val="150000"/>
              </a:lnSpc>
              <a:buClr>
                <a:schemeClr val="accent2"/>
              </a:buClr>
              <a:buFont typeface="Wingdings" panose="05000000000000000000" pitchFamily="2" charset="2"/>
              <a:buChar char="§"/>
              <a:defRPr/>
            </a:pPr>
            <a:r>
              <a:rPr lang="el-GR" sz="1600" b="1" kern="0">
                <a:solidFill>
                  <a:srgbClr val="061E3A"/>
                </a:solidFill>
                <a:latin typeface="+mj-lt"/>
              </a:rPr>
              <a:t>Το 100% της θετικής ή αρνητικής διαφοράς μεταξύ των Εσόδων Αγοράς επιμέρους έργων και της Ομάδας αυτών αναλαμβάνεται πλήρως από τους Ενισχυόμενους Σ.Α.Η.Ε., ως κίνητρο για την αποδοτική δραστηριοποίησή τους στις Αγορές ηλεκτρικής ενέργειας. </a:t>
            </a:r>
          </a:p>
          <a:p>
            <a:pPr marL="402588" indent="-285750" algn="just">
              <a:lnSpc>
                <a:spcPct val="150000"/>
              </a:lnSpc>
              <a:buClr>
                <a:schemeClr val="accent2"/>
              </a:buClr>
              <a:buFont typeface="Wingdings" panose="05000000000000000000" pitchFamily="2" charset="2"/>
              <a:buChar char="§"/>
              <a:defRPr/>
            </a:pPr>
            <a:r>
              <a:rPr lang="el-GR" sz="1600" kern="0">
                <a:solidFill>
                  <a:srgbClr val="061E3A"/>
                </a:solidFill>
                <a:latin typeface="+mj-lt"/>
              </a:rPr>
              <a:t>Η Ρ.Α.Α.Ε.Υ. διατηρεί το δικαίωμα να μειώνει την ετήσια ενίσχυση κατά την εκκαθάρισή για κάθε ενισχυόμενο ΣΑΗΕ εάν διαπιστώσει σημαντική συστηματική διαφορά μεταξύ των εσόδων αγοράς των ΣΑΗΕ μεταξύ τους ή από τα εκτιμώμενα έσοδα της Ομάδας ΣΑΗΕ</a:t>
            </a:r>
          </a:p>
        </p:txBody>
      </p:sp>
    </p:spTree>
    <p:extLst>
      <p:ext uri="{BB962C8B-B14F-4D97-AF65-F5344CB8AC3E}">
        <p14:creationId xmlns:p14="http://schemas.microsoft.com/office/powerpoint/2010/main" val="11770403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EEC57E-2C8B-3130-9003-5ABA4947381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62873A2-390F-7352-26A5-5D433AB1920E}"/>
              </a:ext>
            </a:extLst>
          </p:cNvPr>
          <p:cNvSpPr>
            <a:spLocks noGrp="1"/>
          </p:cNvSpPr>
          <p:nvPr>
            <p:ph type="title"/>
          </p:nvPr>
        </p:nvSpPr>
        <p:spPr>
          <a:xfrm>
            <a:off x="443372" y="379660"/>
            <a:ext cx="11305716" cy="492443"/>
          </a:xfrm>
        </p:spPr>
        <p:txBody>
          <a:bodyPr/>
          <a:lstStyle/>
          <a:p>
            <a:r>
              <a:rPr lang="el-GR">
                <a:solidFill>
                  <a:srgbClr val="0F55F5"/>
                </a:solidFill>
              </a:rPr>
              <a:t>Νομοθετικές Εξελίξεις (Νόμος 5151/2024)</a:t>
            </a:r>
            <a:endParaRPr lang="en-US">
              <a:solidFill>
                <a:srgbClr val="0F55F5"/>
              </a:solidFill>
            </a:endParaRPr>
          </a:p>
        </p:txBody>
      </p:sp>
      <p:sp>
        <p:nvSpPr>
          <p:cNvPr id="5" name="object 19">
            <a:extLst>
              <a:ext uri="{FF2B5EF4-FFF2-40B4-BE49-F238E27FC236}">
                <a16:creationId xmlns:a16="http://schemas.microsoft.com/office/drawing/2014/main" id="{2DE383ED-E787-64A8-0754-54D9F4E2DF74}"/>
              </a:ext>
            </a:extLst>
          </p:cNvPr>
          <p:cNvSpPr txBox="1"/>
          <p:nvPr/>
        </p:nvSpPr>
        <p:spPr>
          <a:xfrm rot="16200000">
            <a:off x="5562520" y="-4269407"/>
            <a:ext cx="1066959" cy="11584963"/>
          </a:xfrm>
          <a:prstGeom prst="rect">
            <a:avLst/>
          </a:prstGeom>
        </p:spPr>
        <p:txBody>
          <a:bodyPr vert="vert" wrap="square" lIns="0" tIns="0" rIns="0" bIns="0" rtlCol="0">
            <a:spAutoFit/>
          </a:bodyPr>
          <a:lstStyle/>
          <a:p>
            <a:pPr marL="116838" algn="just">
              <a:lnSpc>
                <a:spcPct val="150000"/>
              </a:lnSpc>
              <a:buClr>
                <a:schemeClr val="accent2"/>
              </a:buClr>
              <a:defRPr/>
            </a:pPr>
            <a:r>
              <a:rPr lang="el-GR" sz="1600" b="1" kern="0">
                <a:solidFill>
                  <a:srgbClr val="061E3A"/>
                </a:solidFill>
                <a:latin typeface="+mj-lt"/>
              </a:rPr>
              <a:t>Πλαίσιο και Σκοπός</a:t>
            </a:r>
          </a:p>
          <a:p>
            <a:pPr marL="116838" algn="just">
              <a:lnSpc>
                <a:spcPct val="150000"/>
              </a:lnSpc>
              <a:buClr>
                <a:schemeClr val="accent2"/>
              </a:buClr>
              <a:defRPr/>
            </a:pPr>
            <a:r>
              <a:rPr lang="el-GR" sz="1600" b="1" kern="0">
                <a:solidFill>
                  <a:srgbClr val="061E3A"/>
                </a:solidFill>
                <a:latin typeface="+mj-lt"/>
              </a:rPr>
              <a:t>Τα δύο άρθρα (Άρ.40 &amp; Άρ.41) τροποποιούν τον Νόμο 4685/2020, επικεντρώνοντας στον εκσυγχρονισμό του ρυθμιστικού πλαισίου για την αποθήκευση ενέργειας και την ενίσχυση της ενσωμάτωσης των ΑΠΕ στην Ελλάδα.</a:t>
            </a:r>
          </a:p>
        </p:txBody>
      </p:sp>
      <p:sp>
        <p:nvSpPr>
          <p:cNvPr id="2" name="TextBox 1">
            <a:extLst>
              <a:ext uri="{FF2B5EF4-FFF2-40B4-BE49-F238E27FC236}">
                <a16:creationId xmlns:a16="http://schemas.microsoft.com/office/drawing/2014/main" id="{49D59AD1-549A-8B23-AC00-02157F4AD28C}"/>
              </a:ext>
            </a:extLst>
          </p:cNvPr>
          <p:cNvSpPr txBox="1"/>
          <p:nvPr/>
        </p:nvSpPr>
        <p:spPr>
          <a:xfrm>
            <a:off x="653622" y="3384685"/>
            <a:ext cx="4758887" cy="2277547"/>
          </a:xfrm>
          <a:prstGeom prst="rect">
            <a:avLst/>
          </a:prstGeom>
          <a:solidFill>
            <a:schemeClr val="accent2">
              <a:alpha val="25000"/>
            </a:schemeClr>
          </a:solidFill>
        </p:spPr>
        <p:txBody>
          <a:bodyPr wrap="square">
            <a:spAutoFit/>
          </a:bodyPr>
          <a:lstStyle/>
          <a:p>
            <a:r>
              <a:rPr lang="el-GR" sz="1600" b="1">
                <a:latin typeface="+mj-lt"/>
              </a:rPr>
              <a:t>Άρθρο 40:</a:t>
            </a:r>
            <a:endParaRPr lang="el-GR" sz="1600">
              <a:latin typeface="+mj-lt"/>
            </a:endParaRPr>
          </a:p>
          <a:p>
            <a:pPr marL="228594" indent="-228594">
              <a:buFont typeface="Arial" panose="020B0604020202020204" pitchFamily="34" charset="0"/>
              <a:buChar char="•"/>
            </a:pPr>
            <a:r>
              <a:rPr lang="el-GR" sz="1400">
                <a:latin typeface="+mj-lt"/>
              </a:rPr>
              <a:t>Διευκολύνει την </a:t>
            </a:r>
            <a:r>
              <a:rPr lang="el-GR" sz="1400" b="1">
                <a:latin typeface="+mj-lt"/>
              </a:rPr>
              <a:t>ενσωμάτωση αποθήκευσης ενέργειας</a:t>
            </a:r>
            <a:r>
              <a:rPr lang="el-GR" sz="1400">
                <a:latin typeface="+mj-lt"/>
              </a:rPr>
              <a:t> σε νέους και υφιστάμενους Φ/Β σταθμούς.</a:t>
            </a:r>
          </a:p>
          <a:p>
            <a:pPr marL="228594" indent="-228594">
              <a:buFont typeface="Arial" panose="020B0604020202020204" pitchFamily="34" charset="0"/>
              <a:buChar char="•"/>
            </a:pPr>
            <a:r>
              <a:rPr lang="el-GR" sz="1400">
                <a:latin typeface="+mj-lt"/>
              </a:rPr>
              <a:t>Εξασφαλίζει </a:t>
            </a:r>
            <a:r>
              <a:rPr lang="el-GR" sz="1400" b="1">
                <a:latin typeface="+mj-lt"/>
              </a:rPr>
              <a:t>απλοποιημένες διαδικασίες </a:t>
            </a:r>
            <a:r>
              <a:rPr lang="el-GR" sz="1400" b="1" err="1">
                <a:latin typeface="+mj-lt"/>
              </a:rPr>
              <a:t>αδειοδότησης</a:t>
            </a:r>
            <a:r>
              <a:rPr lang="el-GR" sz="1400">
                <a:latin typeface="+mj-lt"/>
              </a:rPr>
              <a:t> για τεχνικές αναβαθμίσεις.</a:t>
            </a:r>
          </a:p>
          <a:p>
            <a:pPr marL="228594" indent="-228594">
              <a:buFont typeface="Arial" panose="020B0604020202020204" pitchFamily="34" charset="0"/>
              <a:buChar char="•"/>
            </a:pPr>
            <a:r>
              <a:rPr lang="el-GR" sz="1400">
                <a:latin typeface="+mj-lt"/>
              </a:rPr>
              <a:t>Εισάγει ένα </a:t>
            </a:r>
            <a:r>
              <a:rPr lang="el-GR" sz="1400" b="1">
                <a:latin typeface="+mj-lt"/>
              </a:rPr>
              <a:t>μοντέλο αποζημίωσης βάσει αγοράς</a:t>
            </a:r>
            <a:r>
              <a:rPr lang="el-GR" sz="1400">
                <a:latin typeface="+mj-lt"/>
              </a:rPr>
              <a:t> για την ενέργεια που διοχετεύεται στο δίκτυο από μονάδες αποθήκευσης.</a:t>
            </a:r>
          </a:p>
          <a:p>
            <a:pPr marL="228594" indent="-228594">
              <a:buFont typeface="Arial" panose="020B0604020202020204" pitchFamily="34" charset="0"/>
              <a:buChar char="•"/>
            </a:pPr>
            <a:r>
              <a:rPr lang="el-GR" sz="1400">
                <a:latin typeface="+mj-lt"/>
              </a:rPr>
              <a:t>Καθορίζει </a:t>
            </a:r>
            <a:r>
              <a:rPr lang="el-GR" sz="1400" b="1">
                <a:latin typeface="+mj-lt"/>
              </a:rPr>
              <a:t>όρια χωρητικότητας (600 MW)</a:t>
            </a:r>
            <a:r>
              <a:rPr lang="el-GR" sz="1400">
                <a:latin typeface="+mj-lt"/>
              </a:rPr>
              <a:t> και </a:t>
            </a:r>
            <a:r>
              <a:rPr lang="el-GR" sz="1400" b="1">
                <a:latin typeface="+mj-lt"/>
              </a:rPr>
              <a:t>πρότυπα ασφαλείας</a:t>
            </a:r>
            <a:r>
              <a:rPr lang="el-GR" sz="1400">
                <a:latin typeface="+mj-lt"/>
              </a:rPr>
              <a:t> για εγκαταστάσεις αποθήκευσης.</a:t>
            </a:r>
          </a:p>
        </p:txBody>
      </p:sp>
      <p:sp>
        <p:nvSpPr>
          <p:cNvPr id="3" name="TextBox 2">
            <a:extLst>
              <a:ext uri="{FF2B5EF4-FFF2-40B4-BE49-F238E27FC236}">
                <a16:creationId xmlns:a16="http://schemas.microsoft.com/office/drawing/2014/main" id="{13D328AE-1C6A-B0C7-F62D-7A9475E98316}"/>
              </a:ext>
            </a:extLst>
          </p:cNvPr>
          <p:cNvSpPr txBox="1"/>
          <p:nvPr/>
        </p:nvSpPr>
        <p:spPr>
          <a:xfrm>
            <a:off x="6096000" y="3307379"/>
            <a:ext cx="4849091" cy="2523768"/>
          </a:xfrm>
          <a:prstGeom prst="rect">
            <a:avLst/>
          </a:prstGeom>
          <a:solidFill>
            <a:schemeClr val="accent2">
              <a:alpha val="25000"/>
            </a:schemeClr>
          </a:solidFill>
        </p:spPr>
        <p:txBody>
          <a:bodyPr wrap="square" lIns="121920" tIns="60960" rIns="121920" bIns="60960" anchor="t">
            <a:spAutoFit/>
          </a:bodyPr>
          <a:lstStyle/>
          <a:p>
            <a:r>
              <a:rPr lang="el-GR" sz="1600" b="1">
                <a:latin typeface="+mj-lt"/>
              </a:rPr>
              <a:t>Άρθρο 41:</a:t>
            </a:r>
            <a:endParaRPr lang="el-GR" sz="1600">
              <a:latin typeface="+mj-lt"/>
            </a:endParaRPr>
          </a:p>
          <a:p>
            <a:pPr marL="228594" indent="-228594">
              <a:buFont typeface="Arial" panose="020B0604020202020204" pitchFamily="34" charset="0"/>
              <a:buChar char="•"/>
            </a:pPr>
            <a:r>
              <a:rPr lang="el-GR" sz="1400">
                <a:latin typeface="+mj-lt"/>
              </a:rPr>
              <a:t>Θέτει τα θεμέλια για </a:t>
            </a:r>
            <a:r>
              <a:rPr lang="el-GR" sz="1400" b="1">
                <a:latin typeface="+mj-lt"/>
              </a:rPr>
              <a:t>αυτόνομα έργα αποθήκευσης</a:t>
            </a:r>
            <a:r>
              <a:rPr lang="el-GR" sz="1400">
                <a:latin typeface="+mj-lt"/>
              </a:rPr>
              <a:t>, επιτρέποντας ταχύτερες εγκρίσεις σύνδεσης και ευελιξία στην </a:t>
            </a:r>
            <a:r>
              <a:rPr lang="el-GR" sz="1400" err="1">
                <a:latin typeface="+mj-lt"/>
              </a:rPr>
              <a:t>αδειοδότηση</a:t>
            </a:r>
            <a:r>
              <a:rPr lang="el-GR" sz="1400">
                <a:latin typeface="+mj-lt"/>
              </a:rPr>
              <a:t>.</a:t>
            </a:r>
          </a:p>
          <a:p>
            <a:pPr marL="228594" indent="-228594">
              <a:buFont typeface="Arial" panose="020B0604020202020204" pitchFamily="34" charset="0"/>
              <a:buChar char="•"/>
            </a:pPr>
            <a:r>
              <a:rPr lang="el-GR" sz="1400">
                <a:latin typeface="+mj-lt"/>
              </a:rPr>
              <a:t>Ορίζει ότι με ΥΑ θα δημοσιευτεί πρόσκληση για την υποδοχή αιτήσεων για την κατά προτεραιότητα χορήγηση ΟΠΣ σε μεμονωμένους σταθμούς αποθήκευσης </a:t>
            </a:r>
            <a:r>
              <a:rPr lang="el-GR" sz="1400" err="1">
                <a:latin typeface="+mj-lt"/>
              </a:rPr>
              <a:t>ηλ</a:t>
            </a:r>
            <a:r>
              <a:rPr lang="el-GR" sz="1400">
                <a:latin typeface="+mj-lt"/>
              </a:rPr>
              <a:t>. ενέργειας</a:t>
            </a:r>
          </a:p>
          <a:p>
            <a:pPr marL="228594" indent="-228594">
              <a:buFont typeface="Arial" panose="020B0604020202020204" pitchFamily="34" charset="0"/>
              <a:buChar char="•"/>
            </a:pPr>
            <a:r>
              <a:rPr lang="el-GR" sz="1400">
                <a:latin typeface="+mj-lt"/>
              </a:rPr>
              <a:t>Η ΥΑ θα καθορίζει </a:t>
            </a:r>
            <a:r>
              <a:rPr lang="el-GR" sz="1400" b="1">
                <a:latin typeface="+mj-lt"/>
              </a:rPr>
              <a:t>κριτήρια υποβολής αιτήσεων, τεχνικές προδιαγραφές</a:t>
            </a:r>
            <a:r>
              <a:rPr lang="el-GR" sz="1400">
                <a:latin typeface="+mj-lt"/>
              </a:rPr>
              <a:t> και </a:t>
            </a:r>
            <a:r>
              <a:rPr lang="el-GR" sz="1400" b="1">
                <a:latin typeface="+mj-lt"/>
              </a:rPr>
              <a:t>κανόνες </a:t>
            </a:r>
            <a:r>
              <a:rPr lang="el-GR" sz="1400" b="1" err="1">
                <a:latin typeface="+mj-lt"/>
              </a:rPr>
              <a:t>προτεραιοποίησης</a:t>
            </a:r>
            <a:r>
              <a:rPr lang="el-GR" sz="1400">
                <a:latin typeface="+mj-lt"/>
              </a:rPr>
              <a:t> για την επιλογή των έργων.</a:t>
            </a:r>
          </a:p>
        </p:txBody>
      </p:sp>
      <p:sp>
        <p:nvSpPr>
          <p:cNvPr id="7" name="Arrow: Down 6">
            <a:extLst>
              <a:ext uri="{FF2B5EF4-FFF2-40B4-BE49-F238E27FC236}">
                <a16:creationId xmlns:a16="http://schemas.microsoft.com/office/drawing/2014/main" id="{DCBA921C-2838-62E2-E2A7-B13207BBCB27}"/>
              </a:ext>
            </a:extLst>
          </p:cNvPr>
          <p:cNvSpPr/>
          <p:nvPr/>
        </p:nvSpPr>
        <p:spPr>
          <a:xfrm rot="2233145">
            <a:off x="3731493" y="2516499"/>
            <a:ext cx="526472" cy="700191"/>
          </a:xfrm>
          <a:prstGeom prst="downArrow">
            <a:avLst/>
          </a:prstGeom>
          <a:solidFill>
            <a:srgbClr val="02C1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Arrow: Down 7">
            <a:extLst>
              <a:ext uri="{FF2B5EF4-FFF2-40B4-BE49-F238E27FC236}">
                <a16:creationId xmlns:a16="http://schemas.microsoft.com/office/drawing/2014/main" id="{1E90A1EE-1888-FF0C-D3D8-07F6FE676AB7}"/>
              </a:ext>
            </a:extLst>
          </p:cNvPr>
          <p:cNvSpPr/>
          <p:nvPr/>
        </p:nvSpPr>
        <p:spPr>
          <a:xfrm rot="19366855" flipH="1">
            <a:off x="7583055" y="2516496"/>
            <a:ext cx="526472" cy="700191"/>
          </a:xfrm>
          <a:prstGeom prst="downArrow">
            <a:avLst/>
          </a:prstGeom>
          <a:solidFill>
            <a:srgbClr val="02C1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B53C76B0-7885-2B6E-B28C-3DB4F5F4F6EE}"/>
              </a:ext>
            </a:extLst>
          </p:cNvPr>
          <p:cNvSpPr txBox="1"/>
          <p:nvPr/>
        </p:nvSpPr>
        <p:spPr>
          <a:xfrm>
            <a:off x="6443331" y="6432541"/>
            <a:ext cx="5348258"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a:t>
            </a:r>
            <a:r>
              <a:rPr lang="el-GR" sz="1200" b="0">
                <a:solidFill>
                  <a:schemeClr val="tx1"/>
                </a:solidFill>
              </a:rPr>
              <a:t> </a:t>
            </a:r>
            <a:r>
              <a:rPr lang="el-GR" sz="1200"/>
              <a:t>ΡΑΑΕΥ</a:t>
            </a:r>
            <a:endParaRPr lang="en-US" sz="1200"/>
          </a:p>
        </p:txBody>
      </p:sp>
    </p:spTree>
    <p:extLst>
      <p:ext uri="{BB962C8B-B14F-4D97-AF65-F5344CB8AC3E}">
        <p14:creationId xmlns:p14="http://schemas.microsoft.com/office/powerpoint/2010/main" val="13729569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1482FC-190B-9612-55FE-397B42157D55}"/>
              </a:ext>
            </a:extLst>
          </p:cNvPr>
          <p:cNvSpPr>
            <a:spLocks noGrp="1"/>
          </p:cNvSpPr>
          <p:nvPr>
            <p:ph type="sldNum" sz="quarter" idx="12"/>
          </p:nvPr>
        </p:nvSpPr>
        <p:spPr/>
        <p:txBody>
          <a:bodyPr/>
          <a:lstStyle/>
          <a:p>
            <a:fld id="{4531D9DC-ADF0-4D0A-8902-0133E3C6D94B}" type="slidenum">
              <a:rPr lang="en-US" smtClean="0"/>
              <a:pPr/>
              <a:t>58</a:t>
            </a:fld>
            <a:endParaRPr lang="en-US"/>
          </a:p>
        </p:txBody>
      </p:sp>
      <p:sp>
        <p:nvSpPr>
          <p:cNvPr id="9" name="Title 5">
            <a:extLst>
              <a:ext uri="{FF2B5EF4-FFF2-40B4-BE49-F238E27FC236}">
                <a16:creationId xmlns:a16="http://schemas.microsoft.com/office/drawing/2014/main" id="{D4EB2F8B-B318-88A9-9135-D4AC726A939D}"/>
              </a:ext>
            </a:extLst>
          </p:cNvPr>
          <p:cNvSpPr>
            <a:spLocks noGrp="1"/>
          </p:cNvSpPr>
          <p:nvPr>
            <p:ph type="title"/>
          </p:nvPr>
        </p:nvSpPr>
        <p:spPr>
          <a:xfrm>
            <a:off x="867900" y="1207795"/>
            <a:ext cx="7248425" cy="984885"/>
          </a:xfrm>
        </p:spPr>
        <p:txBody>
          <a:bodyPr/>
          <a:lstStyle/>
          <a:p>
            <a:r>
              <a:rPr lang="el-GR">
                <a:solidFill>
                  <a:srgbClr val="0F55F5"/>
                </a:solidFill>
              </a:rPr>
              <a:t>Ευχαριστούμε </a:t>
            </a:r>
            <a:br>
              <a:rPr lang="el-GR">
                <a:solidFill>
                  <a:srgbClr val="0F55F5"/>
                </a:solidFill>
              </a:rPr>
            </a:br>
            <a:r>
              <a:rPr lang="el-GR">
                <a:solidFill>
                  <a:srgbClr val="0F55F5"/>
                </a:solidFill>
              </a:rPr>
              <a:t>για την προσοχή σας!</a:t>
            </a:r>
            <a:endParaRPr lang="en-US"/>
          </a:p>
        </p:txBody>
      </p:sp>
    </p:spTree>
    <p:extLst>
      <p:ext uri="{BB962C8B-B14F-4D97-AF65-F5344CB8AC3E}">
        <p14:creationId xmlns:p14="http://schemas.microsoft.com/office/powerpoint/2010/main" val="3506275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41485-B8FC-C4E0-EF26-7E12B6B6C59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AACEA05-0154-12A5-06E8-F3E3F2C6746E}"/>
              </a:ext>
            </a:extLst>
          </p:cNvPr>
          <p:cNvSpPr>
            <a:spLocks noGrp="1"/>
          </p:cNvSpPr>
          <p:nvPr>
            <p:ph type="title"/>
          </p:nvPr>
        </p:nvSpPr>
        <p:spPr>
          <a:xfrm>
            <a:off x="443372" y="379660"/>
            <a:ext cx="11305716" cy="984885"/>
          </a:xfrm>
        </p:spPr>
        <p:txBody>
          <a:bodyPr/>
          <a:lstStyle/>
          <a:p>
            <a:r>
              <a:rPr lang="el-GR">
                <a:solidFill>
                  <a:srgbClr val="0F55F5"/>
                </a:solidFill>
              </a:rPr>
              <a:t>Πώς οι πληθυσμιακές μεταβολές επηρεάζουν τον ενεργειακό τομέα</a:t>
            </a:r>
            <a:endParaRPr lang="en-US">
              <a:solidFill>
                <a:srgbClr val="0F55F5"/>
              </a:solidFill>
            </a:endParaRPr>
          </a:p>
        </p:txBody>
      </p:sp>
      <p:sp>
        <p:nvSpPr>
          <p:cNvPr id="5" name="Slide Number Placeholder 4">
            <a:extLst>
              <a:ext uri="{FF2B5EF4-FFF2-40B4-BE49-F238E27FC236}">
                <a16:creationId xmlns:a16="http://schemas.microsoft.com/office/drawing/2014/main" id="{989D1751-4EC4-B5DE-16F2-04B37CC67363}"/>
              </a:ext>
            </a:extLst>
          </p:cNvPr>
          <p:cNvSpPr>
            <a:spLocks noGrp="1"/>
          </p:cNvSpPr>
          <p:nvPr>
            <p:ph type="sldNum" sz="quarter" idx="16"/>
          </p:nvPr>
        </p:nvSpPr>
        <p:spPr/>
        <p:txBody>
          <a:bodyPr/>
          <a:lstStyle/>
          <a:p>
            <a:fld id="{4531D9DC-ADF0-4D0A-8902-0133E3C6D94B}" type="slidenum">
              <a:rPr lang="en-US" smtClean="0"/>
              <a:pPr/>
              <a:t>6</a:t>
            </a:fld>
            <a:endParaRPr lang="en-US"/>
          </a:p>
        </p:txBody>
      </p:sp>
      <p:sp>
        <p:nvSpPr>
          <p:cNvPr id="20" name="TextBox 19">
            <a:extLst>
              <a:ext uri="{FF2B5EF4-FFF2-40B4-BE49-F238E27FC236}">
                <a16:creationId xmlns:a16="http://schemas.microsoft.com/office/drawing/2014/main" id="{E82067FA-8EA1-5042-6E03-13D000E67D76}"/>
              </a:ext>
            </a:extLst>
          </p:cNvPr>
          <p:cNvSpPr txBox="1"/>
          <p:nvPr/>
        </p:nvSpPr>
        <p:spPr>
          <a:xfrm>
            <a:off x="4665847" y="1865492"/>
            <a:ext cx="6229951" cy="2308324"/>
          </a:xfrm>
          <a:prstGeom prst="rect">
            <a:avLst/>
          </a:prstGeom>
          <a:noFill/>
        </p:spPr>
        <p:txBody>
          <a:bodyPr wrap="square">
            <a:spAutoFit/>
          </a:bodyPr>
          <a:lstStyle/>
          <a:p>
            <a:pPr>
              <a:buNone/>
            </a:pPr>
            <a:r>
              <a:rPr lang="el-GR" b="1">
                <a:solidFill>
                  <a:srgbClr val="0F55F5"/>
                </a:solidFill>
              </a:rPr>
              <a:t>Μέγεθος πληθυσμού:</a:t>
            </a:r>
          </a:p>
          <a:p>
            <a:pPr>
              <a:buFont typeface="Arial" panose="020B0604020202020204" pitchFamily="34" charset="0"/>
              <a:buChar char="•"/>
            </a:pPr>
            <a:r>
              <a:rPr lang="el-GR" b="1">
                <a:solidFill>
                  <a:srgbClr val="0F55F5"/>
                </a:solidFill>
              </a:rPr>
              <a:t>8,09 δισεκατομμύρια </a:t>
            </a:r>
            <a:r>
              <a:rPr lang="el-GR" b="1"/>
              <a:t>- </a:t>
            </a:r>
            <a:r>
              <a:rPr lang="el-GR"/>
              <a:t> αύξηση 71 εκατομμυρίων ατόμων (0,9%) σε σχέση με το προηγούμενο έτος.</a:t>
            </a:r>
          </a:p>
          <a:p>
            <a:pPr>
              <a:buFont typeface="Arial" panose="020B0604020202020204" pitchFamily="34" charset="0"/>
              <a:buChar char="•"/>
            </a:pPr>
            <a:r>
              <a:rPr lang="el-GR" b="1">
                <a:solidFill>
                  <a:srgbClr val="0F55F5"/>
                </a:solidFill>
              </a:rPr>
              <a:t>Ο παγκόσμιος πληθυσμός προβλέπεται να φτάσει τα 9,7 δισ. έως το 2050.</a:t>
            </a:r>
            <a:endParaRPr lang="el-GR">
              <a:solidFill>
                <a:srgbClr val="0F55F5"/>
              </a:solidFill>
            </a:endParaRPr>
          </a:p>
          <a:p>
            <a:pPr>
              <a:buFont typeface="Arial" panose="020B0604020202020204" pitchFamily="34" charset="0"/>
              <a:buChar char="•"/>
            </a:pPr>
            <a:r>
              <a:rPr lang="el-GR" b="1">
                <a:solidFill>
                  <a:srgbClr val="0F55F5"/>
                </a:solidFill>
              </a:rPr>
              <a:t>4 δισ</a:t>
            </a:r>
            <a:r>
              <a:rPr lang="el-GR" b="1"/>
              <a:t>.</a:t>
            </a:r>
            <a:r>
              <a:rPr lang="el-GR"/>
              <a:t> Εκ των οποίων βρίσκονται σε </a:t>
            </a:r>
            <a:r>
              <a:rPr lang="el-GR" b="1">
                <a:solidFill>
                  <a:srgbClr val="0F55F5"/>
                </a:solidFill>
              </a:rPr>
              <a:t>Κίνα και Ινδία.</a:t>
            </a:r>
          </a:p>
          <a:p>
            <a:pPr>
              <a:buFont typeface="Arial" panose="020B0604020202020204" pitchFamily="34" charset="0"/>
              <a:buChar char="•"/>
            </a:pPr>
            <a:r>
              <a:rPr lang="el-GR"/>
              <a:t>Ο πληθυσμός της </a:t>
            </a:r>
            <a:r>
              <a:rPr lang="el-GR" b="1">
                <a:solidFill>
                  <a:srgbClr val="0F55F5"/>
                </a:solidFill>
              </a:rPr>
              <a:t>υποσαχάριας Αφρικής</a:t>
            </a:r>
            <a:r>
              <a:rPr lang="el-GR">
                <a:solidFill>
                  <a:srgbClr val="0F55F5"/>
                </a:solidFill>
              </a:rPr>
              <a:t> </a:t>
            </a:r>
            <a:r>
              <a:rPr lang="el-GR"/>
              <a:t>αναμένεται να </a:t>
            </a:r>
            <a:r>
              <a:rPr lang="el-GR" b="1">
                <a:solidFill>
                  <a:srgbClr val="0F55F5"/>
                </a:solidFill>
              </a:rPr>
              <a:t>σχεδόν διπλασιαστεί έως το 2050.</a:t>
            </a:r>
            <a:endParaRPr lang="el-GR">
              <a:solidFill>
                <a:srgbClr val="0F55F5"/>
              </a:solidFill>
            </a:endParaRPr>
          </a:p>
        </p:txBody>
      </p:sp>
      <p:sp>
        <p:nvSpPr>
          <p:cNvPr id="22" name="TextBox 21">
            <a:extLst>
              <a:ext uri="{FF2B5EF4-FFF2-40B4-BE49-F238E27FC236}">
                <a16:creationId xmlns:a16="http://schemas.microsoft.com/office/drawing/2014/main" id="{64D985B4-E3BA-9BB6-C1EA-3D3895AA76EC}"/>
              </a:ext>
            </a:extLst>
          </p:cNvPr>
          <p:cNvSpPr txBox="1"/>
          <p:nvPr/>
        </p:nvSpPr>
        <p:spPr>
          <a:xfrm>
            <a:off x="4831883" y="4573683"/>
            <a:ext cx="6063915" cy="1569660"/>
          </a:xfrm>
          <a:prstGeom prst="rect">
            <a:avLst/>
          </a:prstGeom>
          <a:solidFill>
            <a:schemeClr val="accent2"/>
          </a:solidFill>
        </p:spPr>
        <p:txBody>
          <a:bodyPr wrap="square">
            <a:spAutoFit/>
          </a:bodyPr>
          <a:lstStyle/>
          <a:p>
            <a:r>
              <a:rPr lang="el-GR" sz="1600">
                <a:solidFill>
                  <a:schemeClr val="bg1"/>
                </a:solidFill>
              </a:rPr>
              <a:t>Η προβλεπόμενη αύξηση του παγκόσμιου πληθυσμού σε </a:t>
            </a:r>
            <a:r>
              <a:rPr lang="el-GR" sz="1600" b="1">
                <a:solidFill>
                  <a:schemeClr val="bg1"/>
                </a:solidFill>
              </a:rPr>
              <a:t>9,7 δισ. έως το 2050</a:t>
            </a:r>
            <a:r>
              <a:rPr lang="el-GR" sz="1600">
                <a:solidFill>
                  <a:schemeClr val="bg1"/>
                </a:solidFill>
              </a:rPr>
              <a:t> συνεπάγεται </a:t>
            </a:r>
            <a:r>
              <a:rPr lang="el-GR" sz="1600" b="1">
                <a:solidFill>
                  <a:schemeClr val="bg1"/>
                </a:solidFill>
              </a:rPr>
              <a:t>εκρηκτική αύξηση της ενεργειακής ζήτησης</a:t>
            </a:r>
            <a:r>
              <a:rPr lang="el-GR" sz="1600">
                <a:solidFill>
                  <a:schemeClr val="bg1"/>
                </a:solidFill>
              </a:rPr>
              <a:t>, ειδικά για ηλεκτρική ενέργεια, καθαρές πηγές και υπηρεσίες θέρμανσης/ψύξης. Τα ενεργειακά συστήματα θα πρέπει να καλύψουν περισσότερους ανθρώπους, συχνά σε περιοχές που σήμερα έχουν ανεπαρκή πρόσβαση σε ενέργεια.</a:t>
            </a:r>
            <a:endParaRPr lang="en-US" sz="1600">
              <a:solidFill>
                <a:schemeClr val="bg1"/>
              </a:solidFill>
            </a:endParaRPr>
          </a:p>
        </p:txBody>
      </p:sp>
      <p:pic>
        <p:nvPicPr>
          <p:cNvPr id="23" name="Picture 2" descr="May be a graphic of map and text that says 'TE BRAIN MAZE +35M POPULATION GROWTH IN 2024 +28.6M +4.6M +2.6M AFRICA ASIA EUROPE +0.6M NORTH S.AMERICA AUSTRALIA AMERICA -1.2M'">
            <a:extLst>
              <a:ext uri="{FF2B5EF4-FFF2-40B4-BE49-F238E27FC236}">
                <a16:creationId xmlns:a16="http://schemas.microsoft.com/office/drawing/2014/main" id="{0BBEDD55-BC7E-099A-F447-E106228662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72" y="1788689"/>
            <a:ext cx="3483723" cy="435465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0143A277-C390-3DF7-6F02-35A023BC923F}"/>
              </a:ext>
            </a:extLst>
          </p:cNvPr>
          <p:cNvSpPr txBox="1"/>
          <p:nvPr/>
        </p:nvSpPr>
        <p:spPr>
          <a:xfrm>
            <a:off x="695372" y="6228184"/>
            <a:ext cx="4143303" cy="184666"/>
          </a:xfrm>
          <a:prstGeom prst="rect">
            <a:avLst/>
          </a:prstGeom>
          <a:noFill/>
        </p:spPr>
        <p:txBody>
          <a:bodyPr wrap="square" lIns="0" tIns="0" rIns="0" bIns="0" rtlCol="0">
            <a:spAutoFit/>
          </a:bodyPr>
          <a:lstStyle/>
          <a:p>
            <a:pPr>
              <a:lnSpc>
                <a:spcPct val="100000"/>
              </a:lnSpc>
              <a:spcBef>
                <a:spcPts val="600"/>
              </a:spcBef>
              <a:buClr>
                <a:schemeClr val="accent1"/>
              </a:buClr>
            </a:pPr>
            <a:r>
              <a:rPr lang="en-US" sz="1200"/>
              <a:t>Source: Our World in Data</a:t>
            </a:r>
            <a:endParaRPr lang="en-US" sz="1200">
              <a:solidFill>
                <a:schemeClr val="tx1"/>
              </a:solidFill>
            </a:endParaRPr>
          </a:p>
        </p:txBody>
      </p:sp>
    </p:spTree>
    <p:extLst>
      <p:ext uri="{BB962C8B-B14F-4D97-AF65-F5344CB8AC3E}">
        <p14:creationId xmlns:p14="http://schemas.microsoft.com/office/powerpoint/2010/main" val="822568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7985B-7CA5-4ACF-98FE-794B30DC168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C893289-F61C-96F6-A0BE-63C126281510}"/>
              </a:ext>
            </a:extLst>
          </p:cNvPr>
          <p:cNvSpPr>
            <a:spLocks noGrp="1"/>
          </p:cNvSpPr>
          <p:nvPr>
            <p:ph type="title"/>
          </p:nvPr>
        </p:nvSpPr>
        <p:spPr>
          <a:xfrm>
            <a:off x="443372" y="379660"/>
            <a:ext cx="11305716" cy="984885"/>
          </a:xfrm>
        </p:spPr>
        <p:txBody>
          <a:bodyPr/>
          <a:lstStyle/>
          <a:p>
            <a:r>
              <a:rPr lang="el-GR">
                <a:solidFill>
                  <a:srgbClr val="0F55F5"/>
                </a:solidFill>
              </a:rPr>
              <a:t>Συσχέτιση μεταξύ του ΑΕΠ ανά κάτοικο και της πρωτογενούς κατανάλωσης ενέργειας παγκοσμίως, [2024]</a:t>
            </a:r>
            <a:endParaRPr lang="en-US">
              <a:solidFill>
                <a:srgbClr val="0F55F5"/>
              </a:solidFill>
            </a:endParaRPr>
          </a:p>
        </p:txBody>
      </p:sp>
      <p:sp>
        <p:nvSpPr>
          <p:cNvPr id="5" name="Slide Number Placeholder 4">
            <a:extLst>
              <a:ext uri="{FF2B5EF4-FFF2-40B4-BE49-F238E27FC236}">
                <a16:creationId xmlns:a16="http://schemas.microsoft.com/office/drawing/2014/main" id="{992580E8-6D2E-2C75-446C-6A7D111A7CA3}"/>
              </a:ext>
            </a:extLst>
          </p:cNvPr>
          <p:cNvSpPr>
            <a:spLocks noGrp="1"/>
          </p:cNvSpPr>
          <p:nvPr>
            <p:ph type="sldNum" sz="quarter" idx="16"/>
          </p:nvPr>
        </p:nvSpPr>
        <p:spPr/>
        <p:txBody>
          <a:bodyPr/>
          <a:lstStyle/>
          <a:p>
            <a:fld id="{4531D9DC-ADF0-4D0A-8902-0133E3C6D94B}" type="slidenum">
              <a:rPr lang="en-US" smtClean="0"/>
              <a:pPr/>
              <a:t>7</a:t>
            </a:fld>
            <a:endParaRPr lang="en-US"/>
          </a:p>
        </p:txBody>
      </p:sp>
      <p:sp>
        <p:nvSpPr>
          <p:cNvPr id="20" name="TextBox 19">
            <a:extLst>
              <a:ext uri="{FF2B5EF4-FFF2-40B4-BE49-F238E27FC236}">
                <a16:creationId xmlns:a16="http://schemas.microsoft.com/office/drawing/2014/main" id="{2F20CA99-A773-B0CA-0F91-5E3F6E06DE86}"/>
              </a:ext>
            </a:extLst>
          </p:cNvPr>
          <p:cNvSpPr txBox="1"/>
          <p:nvPr/>
        </p:nvSpPr>
        <p:spPr>
          <a:xfrm>
            <a:off x="6386773" y="1538074"/>
            <a:ext cx="5738886" cy="5016758"/>
          </a:xfrm>
          <a:prstGeom prst="rect">
            <a:avLst/>
          </a:prstGeom>
          <a:noFill/>
        </p:spPr>
        <p:txBody>
          <a:bodyPr wrap="square">
            <a:spAutoFit/>
          </a:bodyPr>
          <a:lstStyle/>
          <a:p>
            <a:pPr>
              <a:buNone/>
            </a:pPr>
            <a:r>
              <a:rPr lang="el-GR" sz="1600"/>
              <a:t>Οι </a:t>
            </a:r>
            <a:r>
              <a:rPr lang="el-GR" sz="1600" b="1">
                <a:solidFill>
                  <a:srgbClr val="0F55F5"/>
                </a:solidFill>
              </a:rPr>
              <a:t>πλουσιότερες χώρες</a:t>
            </a:r>
            <a:r>
              <a:rPr lang="el-GR" sz="1600">
                <a:solidFill>
                  <a:srgbClr val="0F55F5"/>
                </a:solidFill>
              </a:rPr>
              <a:t> </a:t>
            </a:r>
            <a:r>
              <a:rPr lang="el-GR" sz="1600"/>
              <a:t>τείνουν να εμφανίζουν </a:t>
            </a:r>
            <a:r>
              <a:rPr lang="el-GR" sz="1600" b="1">
                <a:solidFill>
                  <a:srgbClr val="0F55F5"/>
                </a:solidFill>
              </a:rPr>
              <a:t>υψηλότερα επίπεδα ενεργειακής κατανάλωσης</a:t>
            </a:r>
            <a:r>
              <a:rPr lang="el-GR" sz="1600">
                <a:solidFill>
                  <a:srgbClr val="0F55F5"/>
                </a:solidFill>
              </a:rPr>
              <a:t>.</a:t>
            </a:r>
          </a:p>
          <a:p>
            <a:pPr marL="285750" indent="-285750">
              <a:buFont typeface="Wingdings" panose="05000000000000000000" pitchFamily="2" charset="2"/>
              <a:buChar char="§"/>
            </a:pPr>
            <a:r>
              <a:rPr lang="el-GR" sz="1600"/>
              <a:t>Η </a:t>
            </a:r>
            <a:r>
              <a:rPr lang="el-GR" sz="1600" b="1">
                <a:solidFill>
                  <a:srgbClr val="0F55F5"/>
                </a:solidFill>
              </a:rPr>
              <a:t>Αφρική και η Ασία</a:t>
            </a:r>
            <a:r>
              <a:rPr lang="el-GR" sz="1600">
                <a:solidFill>
                  <a:srgbClr val="0F55F5"/>
                </a:solidFill>
              </a:rPr>
              <a:t> </a:t>
            </a:r>
            <a:r>
              <a:rPr lang="el-GR" sz="1600"/>
              <a:t>εμφανίζουμ </a:t>
            </a:r>
            <a:r>
              <a:rPr lang="el-GR" sz="1600" b="1">
                <a:solidFill>
                  <a:srgbClr val="0F55F5"/>
                </a:solidFill>
              </a:rPr>
              <a:t>χαμηλό ΑΕΠ ανά κάτοικο</a:t>
            </a:r>
            <a:r>
              <a:rPr lang="el-GR" sz="1600">
                <a:solidFill>
                  <a:srgbClr val="0F55F5"/>
                </a:solidFill>
              </a:rPr>
              <a:t> και </a:t>
            </a:r>
            <a:r>
              <a:rPr lang="el-GR" sz="1600" b="1">
                <a:solidFill>
                  <a:srgbClr val="0F55F5"/>
                </a:solidFill>
              </a:rPr>
              <a:t>περιορισμένη κατανάλωση ενέργειας</a:t>
            </a:r>
            <a:r>
              <a:rPr lang="el-GR" sz="1600"/>
              <a:t>, λόγω </a:t>
            </a:r>
            <a:r>
              <a:rPr lang="el-GR" sz="1600" b="1">
                <a:solidFill>
                  <a:srgbClr val="0F55F5"/>
                </a:solidFill>
              </a:rPr>
              <a:t>ανεπαρκούς πρόσβασης σε ενεργειακούς πόρους</a:t>
            </a:r>
            <a:r>
              <a:rPr lang="el-GR" sz="1600">
                <a:solidFill>
                  <a:srgbClr val="0F55F5"/>
                </a:solidFill>
              </a:rPr>
              <a:t>.</a:t>
            </a:r>
          </a:p>
          <a:p>
            <a:pPr marL="285750" indent="-285750">
              <a:buFont typeface="Wingdings" panose="05000000000000000000" pitchFamily="2" charset="2"/>
              <a:buChar char="§"/>
            </a:pPr>
            <a:r>
              <a:rPr lang="el-GR" sz="1600"/>
              <a:t>Η </a:t>
            </a:r>
            <a:r>
              <a:rPr lang="el-GR" sz="1600" b="1">
                <a:solidFill>
                  <a:srgbClr val="0F55F5"/>
                </a:solidFill>
              </a:rPr>
              <a:t>Ευρώπη, η Βόρεια Αμερική και η Ωκεανία</a:t>
            </a:r>
            <a:r>
              <a:rPr lang="el-GR" sz="1600">
                <a:solidFill>
                  <a:srgbClr val="0F55F5"/>
                </a:solidFill>
              </a:rPr>
              <a:t> </a:t>
            </a:r>
            <a:r>
              <a:rPr lang="el-GR" sz="1600"/>
              <a:t>παρουσιάζουν </a:t>
            </a:r>
            <a:r>
              <a:rPr lang="el-GR" sz="1600" b="1">
                <a:solidFill>
                  <a:srgbClr val="0F55F5"/>
                </a:solidFill>
              </a:rPr>
              <a:t>υψηλότερα επίπεδα ΑΕΠ</a:t>
            </a:r>
            <a:r>
              <a:rPr lang="el-GR" sz="1600">
                <a:solidFill>
                  <a:srgbClr val="0F55F5"/>
                </a:solidFill>
              </a:rPr>
              <a:t> </a:t>
            </a:r>
            <a:r>
              <a:rPr lang="el-GR" sz="1600"/>
              <a:t>και </a:t>
            </a:r>
            <a:r>
              <a:rPr lang="el-GR" sz="1600" b="1">
                <a:solidFill>
                  <a:srgbClr val="0F55F5"/>
                </a:solidFill>
              </a:rPr>
              <a:t>μεγαλύτερη ενεργειακή κατανάλωση.</a:t>
            </a:r>
          </a:p>
          <a:p>
            <a:pPr marL="285750" indent="-285750">
              <a:buFont typeface="Wingdings" panose="05000000000000000000" pitchFamily="2" charset="2"/>
              <a:buChar char="§"/>
            </a:pPr>
            <a:r>
              <a:rPr lang="el-GR" sz="1600"/>
              <a:t>Ορισμένες ευρωπαϊκές χώρες </a:t>
            </a:r>
            <a:r>
              <a:rPr lang="el-GR" sz="1600">
                <a:solidFill>
                  <a:srgbClr val="0F55F5"/>
                </a:solidFill>
              </a:rPr>
              <a:t>εμφανίζουν </a:t>
            </a:r>
            <a:r>
              <a:rPr lang="el-GR" sz="1600" b="1">
                <a:solidFill>
                  <a:srgbClr val="0F55F5"/>
                </a:solidFill>
              </a:rPr>
              <a:t>χαμηλότερη κατανάλωση ενέργειας παρά το υψηλό ΑΕΠ</a:t>
            </a:r>
            <a:r>
              <a:rPr lang="el-GR" sz="1600"/>
              <a:t>, πιθανώς λόγω </a:t>
            </a:r>
            <a:r>
              <a:rPr lang="el-GR" sz="1600" b="1">
                <a:solidFill>
                  <a:srgbClr val="0F55F5"/>
                </a:solidFill>
              </a:rPr>
              <a:t>μεγαλύτερης ενεργειακής αποδοτικότητας</a:t>
            </a:r>
            <a:r>
              <a:rPr lang="el-GR" sz="1600">
                <a:solidFill>
                  <a:srgbClr val="0F55F5"/>
                </a:solidFill>
              </a:rPr>
              <a:t> ή </a:t>
            </a:r>
            <a:r>
              <a:rPr lang="el-GR" sz="1600" b="1">
                <a:solidFill>
                  <a:srgbClr val="0F55F5"/>
                </a:solidFill>
              </a:rPr>
              <a:t>υψηλής διείσδυσης ανανεώσιμων πηγών ενέργειας</a:t>
            </a:r>
            <a:r>
              <a:rPr lang="el-GR" sz="1600"/>
              <a:t>.</a:t>
            </a:r>
          </a:p>
          <a:p>
            <a:pPr marL="285750" indent="-285750">
              <a:buFont typeface="Wingdings" panose="05000000000000000000" pitchFamily="2" charset="2"/>
              <a:buChar char="§"/>
            </a:pPr>
            <a:r>
              <a:rPr lang="el-GR" sz="1600"/>
              <a:t>Αντίθετα, ορισμένες χώρες στην </a:t>
            </a:r>
            <a:r>
              <a:rPr lang="el-GR" sz="1600" b="1">
                <a:solidFill>
                  <a:srgbClr val="0F55F5"/>
                </a:solidFill>
              </a:rPr>
              <a:t>Ασία και την Ωκεανία</a:t>
            </a:r>
            <a:r>
              <a:rPr lang="el-GR" sz="1600">
                <a:solidFill>
                  <a:srgbClr val="0F55F5"/>
                </a:solidFill>
              </a:rPr>
              <a:t> </a:t>
            </a:r>
            <a:r>
              <a:rPr lang="el-GR" sz="1600"/>
              <a:t>εμφανίζουν </a:t>
            </a:r>
            <a:r>
              <a:rPr lang="el-GR" sz="1600" b="1">
                <a:solidFill>
                  <a:srgbClr val="0F55F5"/>
                </a:solidFill>
              </a:rPr>
              <a:t>υψηλή κατανάλωση ενέργειας σε σχέση με το ΑΕΠ τους</a:t>
            </a:r>
            <a:r>
              <a:rPr lang="el-GR" sz="1600">
                <a:solidFill>
                  <a:srgbClr val="0F55F5"/>
                </a:solidFill>
              </a:rPr>
              <a:t>, </a:t>
            </a:r>
            <a:r>
              <a:rPr lang="el-GR" sz="1600"/>
              <a:t>ενδεχομένως λόγω </a:t>
            </a:r>
            <a:r>
              <a:rPr lang="el-GR" sz="1600" b="1">
                <a:solidFill>
                  <a:srgbClr val="0F55F5"/>
                </a:solidFill>
              </a:rPr>
              <a:t>ενεργοβόρων βιομηχανιών</a:t>
            </a:r>
            <a:r>
              <a:rPr lang="el-GR" sz="1600">
                <a:solidFill>
                  <a:srgbClr val="0F55F5"/>
                </a:solidFill>
              </a:rPr>
              <a:t> </a:t>
            </a:r>
            <a:r>
              <a:rPr lang="el-GR" sz="1600"/>
              <a:t>ή </a:t>
            </a:r>
            <a:r>
              <a:rPr lang="el-GR" sz="1600" b="1">
                <a:solidFill>
                  <a:srgbClr val="0F55F5"/>
                </a:solidFill>
              </a:rPr>
              <a:t>αναποτελεσματικών ενεργειακών πρακτικών</a:t>
            </a:r>
            <a:r>
              <a:rPr lang="el-GR" sz="1600">
                <a:solidFill>
                  <a:srgbClr val="0F55F5"/>
                </a:solidFill>
              </a:rPr>
              <a:t>.</a:t>
            </a:r>
          </a:p>
          <a:p>
            <a:r>
              <a:rPr lang="el-GR" sz="1600"/>
              <a:t>Οι πλουσιότερες χώρες έχουν τη δυνατότητα να </a:t>
            </a:r>
            <a:r>
              <a:rPr lang="el-GR" sz="1600" b="1">
                <a:solidFill>
                  <a:srgbClr val="0F55F5"/>
                </a:solidFill>
              </a:rPr>
              <a:t>επενδύσουν σε καθαρή ενέργεια και τεχνολογίες υψηλής ενεργειακής αποδοτικότητας</a:t>
            </a:r>
            <a:r>
              <a:rPr lang="el-GR" sz="1600" b="1"/>
              <a:t>.</a:t>
            </a:r>
            <a:endParaRPr lang="el-GR" sz="1600"/>
          </a:p>
        </p:txBody>
      </p:sp>
      <p:pic>
        <p:nvPicPr>
          <p:cNvPr id="2" name="Picture 1">
            <a:extLst>
              <a:ext uri="{FF2B5EF4-FFF2-40B4-BE49-F238E27FC236}">
                <a16:creationId xmlns:a16="http://schemas.microsoft.com/office/drawing/2014/main" id="{A3B2F7FE-8B95-DCA3-9EFF-097C8381525E}"/>
              </a:ext>
            </a:extLst>
          </p:cNvPr>
          <p:cNvPicPr>
            <a:picLocks noChangeAspect="1"/>
          </p:cNvPicPr>
          <p:nvPr/>
        </p:nvPicPr>
        <p:blipFill>
          <a:blip r:embed="rId3"/>
          <a:srcRect r="3863"/>
          <a:stretch/>
        </p:blipFill>
        <p:spPr>
          <a:xfrm>
            <a:off x="443372" y="1538074"/>
            <a:ext cx="5875063" cy="4547358"/>
          </a:xfrm>
          <a:prstGeom prst="rect">
            <a:avLst/>
          </a:prstGeom>
        </p:spPr>
      </p:pic>
      <p:sp>
        <p:nvSpPr>
          <p:cNvPr id="3" name="TextBox 2">
            <a:extLst>
              <a:ext uri="{FF2B5EF4-FFF2-40B4-BE49-F238E27FC236}">
                <a16:creationId xmlns:a16="http://schemas.microsoft.com/office/drawing/2014/main" id="{1742F47B-8698-9224-7168-669859707F8E}"/>
              </a:ext>
            </a:extLst>
          </p:cNvPr>
          <p:cNvSpPr txBox="1"/>
          <p:nvPr/>
        </p:nvSpPr>
        <p:spPr>
          <a:xfrm>
            <a:off x="3381153" y="5436882"/>
            <a:ext cx="1945758" cy="283433"/>
          </a:xfrm>
          <a:prstGeom prst="rect">
            <a:avLst/>
          </a:prstGeom>
          <a:solidFill>
            <a:schemeClr val="bg1"/>
          </a:solidFill>
          <a:ln>
            <a:noFill/>
          </a:ln>
        </p:spPr>
        <p:txBody>
          <a:bodyPr wrap="square" lIns="0" tIns="0" rIns="0" bIns="0" rtlCol="0">
            <a:spAutoFit/>
          </a:bodyPr>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4" name="TextBox 3">
            <a:extLst>
              <a:ext uri="{FF2B5EF4-FFF2-40B4-BE49-F238E27FC236}">
                <a16:creationId xmlns:a16="http://schemas.microsoft.com/office/drawing/2014/main" id="{1B9C591C-5139-7EA1-4118-90506B018E7F}"/>
              </a:ext>
            </a:extLst>
          </p:cNvPr>
          <p:cNvSpPr txBox="1"/>
          <p:nvPr/>
        </p:nvSpPr>
        <p:spPr>
          <a:xfrm>
            <a:off x="2062717" y="6166628"/>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Our World in Data</a:t>
            </a:r>
            <a:endParaRPr lang="en-US" sz="1200">
              <a:solidFill>
                <a:schemeClr val="tx1"/>
              </a:solidFill>
            </a:endParaRPr>
          </a:p>
        </p:txBody>
      </p:sp>
    </p:spTree>
    <p:extLst>
      <p:ext uri="{BB962C8B-B14F-4D97-AF65-F5344CB8AC3E}">
        <p14:creationId xmlns:p14="http://schemas.microsoft.com/office/powerpoint/2010/main" val="5785106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26256E-AD76-62B6-A73C-A8DDE22E566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322AF96-0C8F-1E80-1086-80EAC1991933}"/>
              </a:ext>
            </a:extLst>
          </p:cNvPr>
          <p:cNvSpPr>
            <a:spLocks noGrp="1"/>
          </p:cNvSpPr>
          <p:nvPr>
            <p:ph type="title"/>
          </p:nvPr>
        </p:nvSpPr>
        <p:spPr>
          <a:xfrm>
            <a:off x="443372" y="379660"/>
            <a:ext cx="11305716" cy="492443"/>
          </a:xfrm>
        </p:spPr>
        <p:txBody>
          <a:bodyPr/>
          <a:lstStyle/>
          <a:p>
            <a:r>
              <a:rPr lang="el-GR">
                <a:solidFill>
                  <a:srgbClr val="0F55F5"/>
                </a:solidFill>
              </a:rPr>
              <a:t>Ένας Πλανήτης Δύο Ταχυτήτων</a:t>
            </a:r>
            <a:endParaRPr lang="en-US">
              <a:solidFill>
                <a:srgbClr val="0F55F5"/>
              </a:solidFill>
            </a:endParaRPr>
          </a:p>
        </p:txBody>
      </p:sp>
      <p:sp>
        <p:nvSpPr>
          <p:cNvPr id="5" name="Slide Number Placeholder 4">
            <a:extLst>
              <a:ext uri="{FF2B5EF4-FFF2-40B4-BE49-F238E27FC236}">
                <a16:creationId xmlns:a16="http://schemas.microsoft.com/office/drawing/2014/main" id="{40DDA79B-CAD1-EC24-D6E3-C4AFEA6CB982}"/>
              </a:ext>
            </a:extLst>
          </p:cNvPr>
          <p:cNvSpPr>
            <a:spLocks noGrp="1"/>
          </p:cNvSpPr>
          <p:nvPr>
            <p:ph type="sldNum" sz="quarter" idx="16"/>
          </p:nvPr>
        </p:nvSpPr>
        <p:spPr/>
        <p:txBody>
          <a:bodyPr/>
          <a:lstStyle/>
          <a:p>
            <a:fld id="{4531D9DC-ADF0-4D0A-8902-0133E3C6D94B}" type="slidenum">
              <a:rPr lang="en-US" smtClean="0"/>
              <a:pPr/>
              <a:t>8</a:t>
            </a:fld>
            <a:endParaRPr lang="en-US"/>
          </a:p>
        </p:txBody>
      </p:sp>
      <p:sp>
        <p:nvSpPr>
          <p:cNvPr id="3" name="TextBox 2">
            <a:extLst>
              <a:ext uri="{FF2B5EF4-FFF2-40B4-BE49-F238E27FC236}">
                <a16:creationId xmlns:a16="http://schemas.microsoft.com/office/drawing/2014/main" id="{21D8049B-579B-EFCD-7695-2A473606987F}"/>
              </a:ext>
            </a:extLst>
          </p:cNvPr>
          <p:cNvSpPr txBox="1"/>
          <p:nvPr/>
        </p:nvSpPr>
        <p:spPr>
          <a:xfrm>
            <a:off x="3381153" y="5436882"/>
            <a:ext cx="1945758" cy="283433"/>
          </a:xfrm>
          <a:prstGeom prst="rect">
            <a:avLst/>
          </a:prstGeom>
          <a:solidFill>
            <a:schemeClr val="bg1"/>
          </a:solidFill>
          <a:ln>
            <a:noFill/>
          </a:ln>
        </p:spPr>
        <p:txBody>
          <a:bodyPr wrap="square" lIns="0" tIns="0" rIns="0" bIns="0" rtlCol="0">
            <a:spAutoFit/>
          </a:bodyPr>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pic>
        <p:nvPicPr>
          <p:cNvPr id="4" name="Picture 2" descr="This map visualizes the countries above (red) or below (blue) the global average for per-capita consumption-based emissions, which is 4.7 tCO₂.">
            <a:extLst>
              <a:ext uri="{FF2B5EF4-FFF2-40B4-BE49-F238E27FC236}">
                <a16:creationId xmlns:a16="http://schemas.microsoft.com/office/drawing/2014/main" id="{E518570D-2DAC-0E25-67F8-C093FBEFCADF}"/>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t="2344" b="4687"/>
          <a:stretch/>
        </p:blipFill>
        <p:spPr bwMode="auto">
          <a:xfrm>
            <a:off x="807432" y="985446"/>
            <a:ext cx="4349358" cy="527351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FA81F4A-9705-A68A-6E5C-9B61A60B950C}"/>
              </a:ext>
            </a:extLst>
          </p:cNvPr>
          <p:cNvSpPr txBox="1"/>
          <p:nvPr/>
        </p:nvSpPr>
        <p:spPr>
          <a:xfrm>
            <a:off x="5326911" y="985446"/>
            <a:ext cx="6166885" cy="3693319"/>
          </a:xfrm>
          <a:prstGeom prst="rect">
            <a:avLst/>
          </a:prstGeom>
          <a:noFill/>
        </p:spPr>
        <p:txBody>
          <a:bodyPr wrap="square">
            <a:spAutoFit/>
          </a:bodyPr>
          <a:lstStyle/>
          <a:p>
            <a:pPr>
              <a:buNone/>
            </a:pPr>
            <a:r>
              <a:rPr lang="en-US"/>
              <a:t>T</a:t>
            </a:r>
            <a:r>
              <a:rPr lang="el-GR"/>
              <a:t>α δεδομένα αναδεικνύουν σαφής διάκριση ανάμεσα σε</a:t>
            </a:r>
            <a:br>
              <a:rPr lang="el-GR"/>
            </a:br>
            <a:r>
              <a:rPr lang="el-GR"/>
              <a:t>- βιομηχανοποιημένες, οικονομικά ανεπτυγμένες και πλουσιότερες χώρες (κυρίως στο Βόρειο Ημισφαίριο – Βόρεια Αμερική, Ευρώπη, Ωκεανία) </a:t>
            </a:r>
            <a:br>
              <a:rPr lang="el-GR"/>
            </a:br>
            <a:r>
              <a:rPr lang="el-GR"/>
              <a:t>- αναπτυσσόμενες χώρες, που βρίσκονται κυρίως στο Νότιο Ημισφαίριο (Νότια Αμερική, Αφρική, Ασία).</a:t>
            </a:r>
          </a:p>
          <a:p>
            <a:pPr>
              <a:buNone/>
            </a:pPr>
            <a:br>
              <a:rPr lang="el-GR"/>
            </a:br>
            <a:r>
              <a:rPr lang="el-GR"/>
              <a:t>Η διάκριση έχει ενταχθεί στον κλιματικό διάλογο για να τονίσει την ανισότητα στις περιβαλλοντικές ευθύνες:</a:t>
            </a:r>
          </a:p>
          <a:p>
            <a:pPr>
              <a:buFont typeface="Arial" panose="020B0604020202020204" pitchFamily="34" charset="0"/>
              <a:buChar char="•"/>
            </a:pPr>
            <a:r>
              <a:rPr lang="el-GR" b="1"/>
              <a:t>Ο Παγκόσμιο Βορράς</a:t>
            </a:r>
            <a:r>
              <a:rPr lang="el-GR"/>
              <a:t> (Global North) συμβάλλει περισσότερο στην </a:t>
            </a:r>
            <a:r>
              <a:rPr lang="el-GR" b="1"/>
              <a:t>περιβαλλοντική υποβάθμιση</a:t>
            </a:r>
            <a:r>
              <a:rPr lang="el-GR"/>
              <a:t>,</a:t>
            </a:r>
          </a:p>
          <a:p>
            <a:pPr>
              <a:buFont typeface="Arial" panose="020B0604020202020204" pitchFamily="34" charset="0"/>
              <a:buChar char="•"/>
            </a:pPr>
            <a:r>
              <a:rPr lang="el-GR"/>
              <a:t>ενώ ο </a:t>
            </a:r>
            <a:r>
              <a:rPr lang="el-GR" b="1"/>
              <a:t>Παγκόσμιος Νότος</a:t>
            </a:r>
            <a:r>
              <a:rPr lang="el-GR"/>
              <a:t> (Global South) υφίσταται εντονότερες </a:t>
            </a:r>
            <a:r>
              <a:rPr lang="el-GR" b="1"/>
              <a:t>επιπτώσεις από την κλιματική αλλαγή</a:t>
            </a:r>
            <a:r>
              <a:rPr lang="el-GR"/>
              <a:t>.</a:t>
            </a:r>
          </a:p>
        </p:txBody>
      </p:sp>
      <p:sp>
        <p:nvSpPr>
          <p:cNvPr id="9" name="TextBox 8">
            <a:extLst>
              <a:ext uri="{FF2B5EF4-FFF2-40B4-BE49-F238E27FC236}">
                <a16:creationId xmlns:a16="http://schemas.microsoft.com/office/drawing/2014/main" id="{5593C8C2-A961-5F40-E66E-DF124C736B08}"/>
              </a:ext>
            </a:extLst>
          </p:cNvPr>
          <p:cNvSpPr txBox="1"/>
          <p:nvPr/>
        </p:nvSpPr>
        <p:spPr>
          <a:xfrm>
            <a:off x="1013487" y="6316490"/>
            <a:ext cx="4143303" cy="184666"/>
          </a:xfrm>
          <a:prstGeom prst="rect">
            <a:avLst/>
          </a:prstGeom>
          <a:noFill/>
        </p:spPr>
        <p:txBody>
          <a:bodyPr wrap="square" lIns="0" tIns="0" rIns="0" bIns="0" rtlCol="0">
            <a:spAutoFit/>
          </a:bodyPr>
          <a:lstStyle/>
          <a:p>
            <a:pPr algn="r">
              <a:lnSpc>
                <a:spcPct val="100000"/>
              </a:lnSpc>
              <a:spcBef>
                <a:spcPts val="600"/>
              </a:spcBef>
              <a:buClr>
                <a:schemeClr val="accent1"/>
              </a:buClr>
            </a:pPr>
            <a:r>
              <a:rPr lang="en-US" sz="1200"/>
              <a:t>Source: Our World in Data</a:t>
            </a:r>
            <a:endParaRPr lang="en-US" sz="1200">
              <a:solidFill>
                <a:schemeClr val="tx1"/>
              </a:solidFill>
            </a:endParaRPr>
          </a:p>
        </p:txBody>
      </p:sp>
      <p:sp>
        <p:nvSpPr>
          <p:cNvPr id="11" name="TextBox 10">
            <a:extLst>
              <a:ext uri="{FF2B5EF4-FFF2-40B4-BE49-F238E27FC236}">
                <a16:creationId xmlns:a16="http://schemas.microsoft.com/office/drawing/2014/main" id="{FBFB7D4F-D0A2-1926-ADB2-2EE2D800344C}"/>
              </a:ext>
            </a:extLst>
          </p:cNvPr>
          <p:cNvSpPr txBox="1"/>
          <p:nvPr/>
        </p:nvSpPr>
        <p:spPr>
          <a:xfrm>
            <a:off x="5326911" y="4781634"/>
            <a:ext cx="6560288" cy="1477328"/>
          </a:xfrm>
          <a:prstGeom prst="rect">
            <a:avLst/>
          </a:prstGeom>
          <a:noFill/>
        </p:spPr>
        <p:txBody>
          <a:bodyPr wrap="square">
            <a:spAutoFit/>
          </a:bodyPr>
          <a:lstStyle/>
          <a:p>
            <a:pPr>
              <a:buNone/>
            </a:pPr>
            <a:r>
              <a:rPr lang="el-GR" b="1"/>
              <a:t>Η παγκόσμια κλιματική κρίση απαιτεί δράση:</a:t>
            </a:r>
            <a:br>
              <a:rPr lang="el-GR" b="1"/>
            </a:br>
            <a:r>
              <a:rPr lang="el-GR"/>
              <a:t>➡️ </a:t>
            </a:r>
            <a:r>
              <a:rPr lang="el-GR" b="1"/>
              <a:t>Περιβαλλοντικές πολιτικές</a:t>
            </a:r>
            <a:br>
              <a:rPr lang="el-GR"/>
            </a:br>
            <a:r>
              <a:rPr lang="el-GR"/>
              <a:t>(</a:t>
            </a:r>
            <a:r>
              <a:rPr lang="en-US"/>
              <a:t>mitigation and adaptation strategies</a:t>
            </a:r>
            <a:r>
              <a:rPr lang="el-GR"/>
              <a:t>)</a:t>
            </a:r>
          </a:p>
          <a:p>
            <a:r>
              <a:rPr lang="el-GR"/>
              <a:t>➡️ </a:t>
            </a:r>
            <a:r>
              <a:rPr lang="el-GR" b="1"/>
              <a:t>Πολιτικές ενεργειακής μετάβασης</a:t>
            </a:r>
            <a:br>
              <a:rPr lang="el-GR"/>
            </a:br>
            <a:r>
              <a:rPr lang="el-GR"/>
              <a:t>προς οικονομίες μηδενικών εκπομπών (net-zero)</a:t>
            </a:r>
          </a:p>
        </p:txBody>
      </p:sp>
      <p:sp>
        <p:nvSpPr>
          <p:cNvPr id="12" name="Arrow: Right 11">
            <a:extLst>
              <a:ext uri="{FF2B5EF4-FFF2-40B4-BE49-F238E27FC236}">
                <a16:creationId xmlns:a16="http://schemas.microsoft.com/office/drawing/2014/main" id="{531D2B24-534C-8485-187B-A2F627E43EFA}"/>
              </a:ext>
            </a:extLst>
          </p:cNvPr>
          <p:cNvSpPr/>
          <p:nvPr/>
        </p:nvSpPr>
        <p:spPr>
          <a:xfrm rot="10800000">
            <a:off x="10470169" y="5578598"/>
            <a:ext cx="914399" cy="570786"/>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Tree>
    <p:extLst>
      <p:ext uri="{BB962C8B-B14F-4D97-AF65-F5344CB8AC3E}">
        <p14:creationId xmlns:p14="http://schemas.microsoft.com/office/powerpoint/2010/main" val="1903599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B9EC0-39F9-C36F-1EBB-D8FC179BF37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58620E5-A405-7FC1-B5E9-ABF826C96FDB}"/>
              </a:ext>
            </a:extLst>
          </p:cNvPr>
          <p:cNvSpPr>
            <a:spLocks noGrp="1"/>
          </p:cNvSpPr>
          <p:nvPr>
            <p:ph type="title"/>
          </p:nvPr>
        </p:nvSpPr>
        <p:spPr>
          <a:xfrm>
            <a:off x="443372" y="379660"/>
            <a:ext cx="11305716" cy="984885"/>
          </a:xfrm>
        </p:spPr>
        <p:txBody>
          <a:bodyPr/>
          <a:lstStyle/>
          <a:p>
            <a:r>
              <a:rPr lang="el-GR">
                <a:solidFill>
                  <a:srgbClr val="0F55F5"/>
                </a:solidFill>
              </a:rPr>
              <a:t>10 τάσεις που επηρεάζουν την χάραξη πολιτικής στον τομέα της ενέργειας</a:t>
            </a:r>
            <a:endParaRPr lang="en-US">
              <a:solidFill>
                <a:srgbClr val="0F55F5"/>
              </a:solidFill>
            </a:endParaRPr>
          </a:p>
        </p:txBody>
      </p:sp>
      <p:sp>
        <p:nvSpPr>
          <p:cNvPr id="5" name="Slide Number Placeholder 4">
            <a:extLst>
              <a:ext uri="{FF2B5EF4-FFF2-40B4-BE49-F238E27FC236}">
                <a16:creationId xmlns:a16="http://schemas.microsoft.com/office/drawing/2014/main" id="{B8CABBE2-8366-C9AC-4E85-25752E1122AD}"/>
              </a:ext>
            </a:extLst>
          </p:cNvPr>
          <p:cNvSpPr>
            <a:spLocks noGrp="1"/>
          </p:cNvSpPr>
          <p:nvPr>
            <p:ph type="sldNum" sz="quarter" idx="16"/>
          </p:nvPr>
        </p:nvSpPr>
        <p:spPr/>
        <p:txBody>
          <a:bodyPr/>
          <a:lstStyle/>
          <a:p>
            <a:fld id="{4531D9DC-ADF0-4D0A-8902-0133E3C6D94B}" type="slidenum">
              <a:rPr lang="en-US" smtClean="0"/>
              <a:pPr/>
              <a:t>9</a:t>
            </a:fld>
            <a:endParaRPr lang="en-US"/>
          </a:p>
        </p:txBody>
      </p:sp>
      <p:grpSp>
        <p:nvGrpSpPr>
          <p:cNvPr id="2" name="Group 1">
            <a:extLst>
              <a:ext uri="{FF2B5EF4-FFF2-40B4-BE49-F238E27FC236}">
                <a16:creationId xmlns:a16="http://schemas.microsoft.com/office/drawing/2014/main" id="{A3A19904-9D6C-7E5D-F9FE-80CB89BF3696}"/>
              </a:ext>
            </a:extLst>
          </p:cNvPr>
          <p:cNvGrpSpPr/>
          <p:nvPr/>
        </p:nvGrpSpPr>
        <p:grpSpPr>
          <a:xfrm>
            <a:off x="1905000" y="1919534"/>
            <a:ext cx="8025582" cy="4786066"/>
            <a:chOff x="-93755" y="2456777"/>
            <a:chExt cx="7394995" cy="5998949"/>
          </a:xfrm>
        </p:grpSpPr>
        <p:pic>
          <p:nvPicPr>
            <p:cNvPr id="7" name="Εικόνα 8">
              <a:extLst>
                <a:ext uri="{FF2B5EF4-FFF2-40B4-BE49-F238E27FC236}">
                  <a16:creationId xmlns:a16="http://schemas.microsoft.com/office/drawing/2014/main" id="{AA438DB4-BB0D-9725-7189-DD354F0D9532}"/>
                </a:ext>
              </a:extLst>
            </p:cNvPr>
            <p:cNvPicPr>
              <a:picLocks noChangeAspect="1"/>
            </p:cNvPicPr>
            <p:nvPr/>
          </p:nvPicPr>
          <p:blipFill rotWithShape="1">
            <a:blip r:embed="rId3">
              <a:extLst>
                <a:ext uri="{28A0092B-C50C-407E-A947-70E740481C1C}">
                  <a14:useLocalDpi xmlns:a14="http://schemas.microsoft.com/office/drawing/2010/main" val="0"/>
                </a:ext>
              </a:extLst>
            </a:blip>
            <a:srcRect l="13735" t="20286" r="14456" b="17745"/>
            <a:stretch/>
          </p:blipFill>
          <p:spPr>
            <a:xfrm>
              <a:off x="159231" y="2456777"/>
              <a:ext cx="6951662" cy="5998949"/>
            </a:xfrm>
            <a:prstGeom prst="rect">
              <a:avLst/>
            </a:prstGeom>
          </p:spPr>
        </p:pic>
        <p:sp>
          <p:nvSpPr>
            <p:cNvPr id="8" name="Ορθογώνιο 1">
              <a:extLst>
                <a:ext uri="{FF2B5EF4-FFF2-40B4-BE49-F238E27FC236}">
                  <a16:creationId xmlns:a16="http://schemas.microsoft.com/office/drawing/2014/main" id="{5F93F842-4A97-4C32-CFCE-94FDE3B0D0CF}"/>
                </a:ext>
              </a:extLst>
            </p:cNvPr>
            <p:cNvSpPr/>
            <p:nvPr/>
          </p:nvSpPr>
          <p:spPr>
            <a:xfrm rot="1375193">
              <a:off x="805701" y="2466931"/>
              <a:ext cx="1201640" cy="360759"/>
            </a:xfrm>
            <a:prstGeom prst="rect">
              <a:avLst/>
            </a:prstGeom>
          </p:spPr>
          <p:txBody>
            <a:bodyPr wrap="none">
              <a:spAutoFit/>
            </a:bodyPr>
            <a:lstStyle/>
            <a:p>
              <a:r>
                <a:rPr lang="en-US" sz="2000" b="1"/>
                <a:t>Climate change </a:t>
              </a:r>
              <a:endParaRPr lang="el-GR" sz="2000" b="1"/>
            </a:p>
          </p:txBody>
        </p:sp>
        <p:sp>
          <p:nvSpPr>
            <p:cNvPr id="9" name="Ορθογώνιο 4">
              <a:extLst>
                <a:ext uri="{FF2B5EF4-FFF2-40B4-BE49-F238E27FC236}">
                  <a16:creationId xmlns:a16="http://schemas.microsoft.com/office/drawing/2014/main" id="{AD2541AA-D418-9558-0309-CB19DD867D1A}"/>
                </a:ext>
              </a:extLst>
            </p:cNvPr>
            <p:cNvSpPr/>
            <p:nvPr/>
          </p:nvSpPr>
          <p:spPr>
            <a:xfrm rot="21015878">
              <a:off x="5365913" y="5320344"/>
              <a:ext cx="1935327" cy="523221"/>
            </a:xfrm>
            <a:prstGeom prst="rect">
              <a:avLst/>
            </a:prstGeom>
          </p:spPr>
          <p:txBody>
            <a:bodyPr wrap="square">
              <a:spAutoFit/>
            </a:bodyPr>
            <a:lstStyle/>
            <a:p>
              <a:r>
                <a:rPr lang="en-US" sz="1600" b="1">
                  <a:solidFill>
                    <a:srgbClr val="AAD300"/>
                  </a:solidFill>
                  <a:latin typeface="Verdana" panose="020B0604030504040204" pitchFamily="34" charset="0"/>
                  <a:ea typeface="Verdana" panose="020B0604030504040204" pitchFamily="34" charset="0"/>
                </a:rPr>
                <a:t>Renewables and Storage</a:t>
              </a:r>
              <a:endParaRPr lang="el-GR" sz="1600" b="1">
                <a:solidFill>
                  <a:srgbClr val="AAD300"/>
                </a:solidFill>
              </a:endParaRPr>
            </a:p>
          </p:txBody>
        </p:sp>
        <p:sp>
          <p:nvSpPr>
            <p:cNvPr id="10" name="Ορθογώνιο 2">
              <a:extLst>
                <a:ext uri="{FF2B5EF4-FFF2-40B4-BE49-F238E27FC236}">
                  <a16:creationId xmlns:a16="http://schemas.microsoft.com/office/drawing/2014/main" id="{F2C82962-FD1A-440F-E40D-E947B4B58F12}"/>
                </a:ext>
              </a:extLst>
            </p:cNvPr>
            <p:cNvSpPr/>
            <p:nvPr/>
          </p:nvSpPr>
          <p:spPr>
            <a:xfrm>
              <a:off x="304831" y="4832544"/>
              <a:ext cx="1445260" cy="360759"/>
            </a:xfrm>
            <a:prstGeom prst="rect">
              <a:avLst/>
            </a:prstGeom>
          </p:spPr>
          <p:txBody>
            <a:bodyPr wrap="none">
              <a:spAutoFit/>
            </a:bodyPr>
            <a:lstStyle/>
            <a:p>
              <a:r>
                <a:rPr lang="en-US" sz="2000" b="1"/>
                <a:t>Clean technologies </a:t>
              </a:r>
              <a:endParaRPr lang="el-GR" sz="2000" b="1"/>
            </a:p>
          </p:txBody>
        </p:sp>
        <p:sp>
          <p:nvSpPr>
            <p:cNvPr id="11" name="Ορθογώνιο 6">
              <a:extLst>
                <a:ext uri="{FF2B5EF4-FFF2-40B4-BE49-F238E27FC236}">
                  <a16:creationId xmlns:a16="http://schemas.microsoft.com/office/drawing/2014/main" id="{42E08638-D4B0-DD1A-6C12-59A1E9080EC1}"/>
                </a:ext>
              </a:extLst>
            </p:cNvPr>
            <p:cNvSpPr/>
            <p:nvPr/>
          </p:nvSpPr>
          <p:spPr>
            <a:xfrm>
              <a:off x="619199" y="6802786"/>
              <a:ext cx="1196194" cy="360759"/>
            </a:xfrm>
            <a:prstGeom prst="rect">
              <a:avLst/>
            </a:prstGeom>
          </p:spPr>
          <p:txBody>
            <a:bodyPr wrap="none">
              <a:spAutoFit/>
            </a:bodyPr>
            <a:lstStyle/>
            <a:p>
              <a:r>
                <a:rPr lang="en-US" sz="2000" b="1"/>
                <a:t>Green Economy</a:t>
              </a:r>
              <a:endParaRPr lang="el-GR" sz="2000" b="1"/>
            </a:p>
          </p:txBody>
        </p:sp>
        <p:sp>
          <p:nvSpPr>
            <p:cNvPr id="12" name="Ορθογώνιο 3">
              <a:extLst>
                <a:ext uri="{FF2B5EF4-FFF2-40B4-BE49-F238E27FC236}">
                  <a16:creationId xmlns:a16="http://schemas.microsoft.com/office/drawing/2014/main" id="{093D68C8-177A-AF52-8D0C-D71768E34C15}"/>
                </a:ext>
              </a:extLst>
            </p:cNvPr>
            <p:cNvSpPr/>
            <p:nvPr/>
          </p:nvSpPr>
          <p:spPr>
            <a:xfrm rot="20179888">
              <a:off x="5443787" y="4527379"/>
              <a:ext cx="1436968" cy="305257"/>
            </a:xfrm>
            <a:prstGeom prst="rect">
              <a:avLst/>
            </a:prstGeom>
          </p:spPr>
          <p:txBody>
            <a:bodyPr wrap="none">
              <a:spAutoFit/>
            </a:bodyPr>
            <a:lstStyle/>
            <a:p>
              <a:r>
                <a:rPr lang="en-US" sz="1600" b="1">
                  <a:solidFill>
                    <a:srgbClr val="AAD300"/>
                  </a:solidFill>
                  <a:latin typeface="Verdana" panose="020B0604030504040204" pitchFamily="34" charset="0"/>
                  <a:ea typeface="Verdana" panose="020B0604030504040204" pitchFamily="34" charset="0"/>
                </a:rPr>
                <a:t>Energy efficiency </a:t>
              </a:r>
              <a:endParaRPr lang="el-GR" sz="1600" b="1">
                <a:solidFill>
                  <a:srgbClr val="AAD300"/>
                </a:solidFill>
                <a:latin typeface="Verdana" panose="020B0604030504040204" pitchFamily="34" charset="0"/>
                <a:ea typeface="Verdana" panose="020B0604030504040204" pitchFamily="34" charset="0"/>
              </a:endParaRPr>
            </a:p>
          </p:txBody>
        </p:sp>
        <p:sp>
          <p:nvSpPr>
            <p:cNvPr id="13" name="Ορθογώνιο 5">
              <a:extLst>
                <a:ext uri="{FF2B5EF4-FFF2-40B4-BE49-F238E27FC236}">
                  <a16:creationId xmlns:a16="http://schemas.microsoft.com/office/drawing/2014/main" id="{038542BE-7B98-0B22-C09C-8D5AB6BC95AD}"/>
                </a:ext>
              </a:extLst>
            </p:cNvPr>
            <p:cNvSpPr/>
            <p:nvPr/>
          </p:nvSpPr>
          <p:spPr>
            <a:xfrm rot="19899601">
              <a:off x="5360162" y="2709726"/>
              <a:ext cx="1107946" cy="305257"/>
            </a:xfrm>
            <a:prstGeom prst="rect">
              <a:avLst/>
            </a:prstGeom>
          </p:spPr>
          <p:txBody>
            <a:bodyPr wrap="none">
              <a:spAutoFit/>
            </a:bodyPr>
            <a:lstStyle/>
            <a:p>
              <a:r>
                <a:rPr lang="en-US" sz="1600" b="1">
                  <a:solidFill>
                    <a:srgbClr val="AAD300"/>
                  </a:solidFill>
                  <a:latin typeface="Verdana" panose="020B0604030504040204" pitchFamily="34" charset="0"/>
                  <a:ea typeface="Verdana" panose="020B0604030504040204" pitchFamily="34" charset="0"/>
                </a:rPr>
                <a:t>Digitalization</a:t>
              </a:r>
              <a:endParaRPr lang="el-GR" sz="1600" b="1">
                <a:solidFill>
                  <a:srgbClr val="AAD300"/>
                </a:solidFill>
                <a:latin typeface="Verdana" panose="020B0604030504040204" pitchFamily="34" charset="0"/>
                <a:ea typeface="Verdana" panose="020B0604030504040204" pitchFamily="34" charset="0"/>
              </a:endParaRPr>
            </a:p>
          </p:txBody>
        </p:sp>
        <p:sp>
          <p:nvSpPr>
            <p:cNvPr id="14" name="Ορθογώνιο 9">
              <a:extLst>
                <a:ext uri="{FF2B5EF4-FFF2-40B4-BE49-F238E27FC236}">
                  <a16:creationId xmlns:a16="http://schemas.microsoft.com/office/drawing/2014/main" id="{8DB7CA60-DF26-B803-2B20-777C695D1419}"/>
                </a:ext>
              </a:extLst>
            </p:cNvPr>
            <p:cNvSpPr/>
            <p:nvPr/>
          </p:nvSpPr>
          <p:spPr>
            <a:xfrm rot="20094822">
              <a:off x="4470564" y="2478299"/>
              <a:ext cx="1238400" cy="360759"/>
            </a:xfrm>
            <a:prstGeom prst="rect">
              <a:avLst/>
            </a:prstGeom>
          </p:spPr>
          <p:txBody>
            <a:bodyPr wrap="none">
              <a:spAutoFit/>
            </a:bodyPr>
            <a:lstStyle/>
            <a:p>
              <a:r>
                <a:rPr lang="en-US" sz="2000" b="1"/>
                <a:t>Decentralization</a:t>
              </a:r>
              <a:endParaRPr lang="el-GR" sz="2000" b="1"/>
            </a:p>
          </p:txBody>
        </p:sp>
        <p:sp>
          <p:nvSpPr>
            <p:cNvPr id="15" name="Ορθογώνιο 7">
              <a:extLst>
                <a:ext uri="{FF2B5EF4-FFF2-40B4-BE49-F238E27FC236}">
                  <a16:creationId xmlns:a16="http://schemas.microsoft.com/office/drawing/2014/main" id="{E9D20FD9-944E-417B-69BC-C97001D6998F}"/>
                </a:ext>
              </a:extLst>
            </p:cNvPr>
            <p:cNvSpPr/>
            <p:nvPr/>
          </p:nvSpPr>
          <p:spPr>
            <a:xfrm rot="20261468">
              <a:off x="-93755" y="3654482"/>
              <a:ext cx="3220520" cy="385774"/>
            </a:xfrm>
            <a:prstGeom prst="rect">
              <a:avLst/>
            </a:prstGeom>
          </p:spPr>
          <p:txBody>
            <a:bodyPr wrap="square">
              <a:spAutoFit/>
            </a:bodyPr>
            <a:lstStyle/>
            <a:p>
              <a:r>
                <a:rPr lang="en-US" sz="1400" b="1"/>
                <a:t>Emerging Markets Growth</a:t>
              </a:r>
              <a:endParaRPr lang="el-GR" sz="1400" b="1"/>
            </a:p>
          </p:txBody>
        </p:sp>
        <p:sp>
          <p:nvSpPr>
            <p:cNvPr id="16" name="Ορθογώνιο 11">
              <a:extLst>
                <a:ext uri="{FF2B5EF4-FFF2-40B4-BE49-F238E27FC236}">
                  <a16:creationId xmlns:a16="http://schemas.microsoft.com/office/drawing/2014/main" id="{2E6D573D-FCFB-EBD9-0118-8FA3AA2AFD83}"/>
                </a:ext>
              </a:extLst>
            </p:cNvPr>
            <p:cNvSpPr/>
            <p:nvPr/>
          </p:nvSpPr>
          <p:spPr>
            <a:xfrm rot="1053770">
              <a:off x="4280406" y="6198008"/>
              <a:ext cx="1338984" cy="360759"/>
            </a:xfrm>
            <a:prstGeom prst="rect">
              <a:avLst/>
            </a:prstGeom>
          </p:spPr>
          <p:txBody>
            <a:bodyPr wrap="none">
              <a:spAutoFit/>
            </a:bodyPr>
            <a:lstStyle/>
            <a:p>
              <a:r>
                <a:rPr lang="en-US" sz="2000" b="1"/>
                <a:t>Security of supply</a:t>
              </a:r>
              <a:endParaRPr lang="el-GR" sz="2000" b="1"/>
            </a:p>
          </p:txBody>
        </p:sp>
        <p:sp>
          <p:nvSpPr>
            <p:cNvPr id="17" name="Ορθογώνιο 12">
              <a:extLst>
                <a:ext uri="{FF2B5EF4-FFF2-40B4-BE49-F238E27FC236}">
                  <a16:creationId xmlns:a16="http://schemas.microsoft.com/office/drawing/2014/main" id="{2DC4ED71-1392-1320-19F1-D57847971BFE}"/>
                </a:ext>
              </a:extLst>
            </p:cNvPr>
            <p:cNvSpPr/>
            <p:nvPr/>
          </p:nvSpPr>
          <p:spPr>
            <a:xfrm rot="19854107">
              <a:off x="3636996" y="2503921"/>
              <a:ext cx="1239514" cy="360759"/>
            </a:xfrm>
            <a:prstGeom prst="rect">
              <a:avLst/>
            </a:prstGeom>
          </p:spPr>
          <p:txBody>
            <a:bodyPr wrap="none">
              <a:spAutoFit/>
            </a:bodyPr>
            <a:lstStyle/>
            <a:p>
              <a:r>
                <a:rPr lang="en-US" sz="2000" b="1"/>
                <a:t>Decarbonization</a:t>
              </a:r>
              <a:endParaRPr lang="el-GR" sz="2000" b="1"/>
            </a:p>
          </p:txBody>
        </p:sp>
      </p:grpSp>
      <p:sp>
        <p:nvSpPr>
          <p:cNvPr id="18" name="Oval 17">
            <a:extLst>
              <a:ext uri="{FF2B5EF4-FFF2-40B4-BE49-F238E27FC236}">
                <a16:creationId xmlns:a16="http://schemas.microsoft.com/office/drawing/2014/main" id="{8C71C121-A73E-6728-6CB6-763DFE28D98D}"/>
              </a:ext>
            </a:extLst>
          </p:cNvPr>
          <p:cNvSpPr/>
          <p:nvPr/>
        </p:nvSpPr>
        <p:spPr>
          <a:xfrm rot="21099324">
            <a:off x="7789896" y="4065812"/>
            <a:ext cx="2168524" cy="857441"/>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Tree>
    <p:extLst>
      <p:ext uri="{BB962C8B-B14F-4D97-AF65-F5344CB8AC3E}">
        <p14:creationId xmlns:p14="http://schemas.microsoft.com/office/powerpoint/2010/main" val="3112799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FfEI_SYyRKKv2nVyrYy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x7zExKWYn6bh02UTzxS5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h2ZQaC6n4kfExClKgNa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oZcwXpU3U7RdxeDuF37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gsCqyw0hVCtGoarZaiU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d2gMy3RgOQIsk9EfjGzJ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4LWWwCU1riFgINiP1Jp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tt7J4fluYJl7w7FRmUJL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GqDJxCRs5xJvVxxh.n3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tfAdlFOoIJnhrspJTuq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_zIJjBrmoB0fAcKbPGdx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CVjwhL64NY76hiRb6HDA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ci42fht0chVYx7o6H4Vv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dDsU7vtuPhda21c6iEH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LAYOUT" val="ppLayoutCusto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3.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4.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5.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6.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7.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48.xml><?xml version="1.0" encoding="utf-8"?>
<p:tagLst xmlns:a="http://schemas.openxmlformats.org/drawingml/2006/main" xmlns:r="http://schemas.openxmlformats.org/officeDocument/2006/relationships" xmlns:p="http://schemas.openxmlformats.org/presentationml/2006/main">
  <p:tag name="NAME" val="TextOval"/>
</p:tagLst>
</file>

<file path=ppt/tags/tag49.xml><?xml version="1.0" encoding="utf-8"?>
<p:tagLst xmlns:a="http://schemas.openxmlformats.org/drawingml/2006/main" xmlns:r="http://schemas.openxmlformats.org/officeDocument/2006/relationships" xmlns:p="http://schemas.openxmlformats.org/presentationml/2006/main">
  <p:tag name="NAME" val="TextOva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TextOval"/>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53.xml><?xml version="1.0" encoding="utf-8"?>
<p:tagLst xmlns:a="http://schemas.openxmlformats.org/drawingml/2006/main" xmlns:r="http://schemas.openxmlformats.org/officeDocument/2006/relationships" xmlns:p="http://schemas.openxmlformats.org/presentationml/2006/main">
  <p:tag name="NAME" val="GreyLineContentSeparatorDefault"/>
</p:tagLst>
</file>

<file path=ppt/tags/tag54.xml><?xml version="1.0" encoding="utf-8"?>
<p:tagLst xmlns:a="http://schemas.openxmlformats.org/drawingml/2006/main" xmlns:r="http://schemas.openxmlformats.org/officeDocument/2006/relationships" xmlns:p="http://schemas.openxmlformats.org/presentationml/2006/main">
  <p:tag name="NAME" val="TrackerAlphaBlue"/>
</p:tagLst>
</file>

<file path=ppt/tags/tag55.xml><?xml version="1.0" encoding="utf-8"?>
<p:tagLst xmlns:a="http://schemas.openxmlformats.org/drawingml/2006/main" xmlns:r="http://schemas.openxmlformats.org/officeDocument/2006/relationships" xmlns:p="http://schemas.openxmlformats.org/presentationml/2006/main">
  <p:tag name="NAME" val="TrackerAlphaBlu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LAYOUT" val="ppLayoutObjec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zBzCKJax7i079vO_xET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RSxlqAIBvdDQXVJcb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HkPv7TKqXNhruLWzbCW3Q"/>
</p:tagLst>
</file>

<file path=ppt/tags/tag63.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64.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65.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66.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YeHd7CUoxyowCnQKLJA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ySoZTVEbe01c_GtnULC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QrBkfccAobyMt2qPRdC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Ko7_L1ydIiwQkuaQjWG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1BlGd033b0DpwaNG5f1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EC.UwqkhG4nX__GaDQ8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8v59TsesVdF2yQq6U0n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lcewXY4R7P3RHUs66uV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J6gBA9NtwhOpPgAVYzeT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uEn_JT.A.d3ZPpM8_h1o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G1lLpKDKNxJ59aOt8a7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koy3OCz9l.0Vl2o.Q6_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O9CwNCiW0ddHgPbLipD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btByq04JfgGIJJUmeDd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ZNzCsh1zz7PiVeml8L1i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5KFoVuGajCy_OxUNRRoO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y62V4S4bZEt8cyvE76r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jsoeimbJUdXBqCwx6nlO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bzTqRC14wmbvmXh1fK4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zYuN696n0PhXAfefY0u9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fFaaRDELlDsxWgEvfw3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EcMMctEZVcjRNfc7sbdm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vzVZigDZDEoqkRJWK8D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QOScHB4Tns1rwmpXACa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wKk66vvo.qcLom_akNl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np47zHMuw2y9Af5KLow8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9zd5kPtjKJ0JSTo8t4u0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dzAQx9BrId1_LhoGegtj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jMW3Y5a_MGXny9h9iVC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lgdKhPrOB7k4n5BRuC03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QIwAKwtB63tn1npYbBh_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IHZp9iIsQeVgFS7hMKI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Sy3GwITfEzYray7.9ulJA"/>
</p:tagLst>
</file>

<file path=ppt/theme/theme1.xml><?xml version="1.0" encoding="utf-8"?>
<a:theme xmlns:a="http://schemas.openxmlformats.org/drawingml/2006/main" name="HellenIQ Master">
  <a:themeElements>
    <a:clrScheme name="HelleniQ Energy March 2023">
      <a:dk1>
        <a:srgbClr val="373737"/>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72000" tIns="72000" rIns="72000" bIns="72000" rtlCol="0" anchor="t"/>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HelleniQ Master Template March 2023_ scr08.potx" id="{2F350A06-AC62-4A35-9CD2-471F4F1E08D0}" vid="{6349CFCD-92E8-402A-9B61-2C21B6724274}"/>
    </a:ext>
  </a:extLst>
</a:theme>
</file>

<file path=ppt/theme/theme2.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539E8D72A9A04C8DC4EAAAB9A8BC4C" ma:contentTypeVersion="1" ma:contentTypeDescription="Create a new document." ma:contentTypeScope="" ma:versionID="57fbce6fa4bdce625d6193dea839dd58">
  <xsd:schema xmlns:xsd="http://www.w3.org/2001/XMLSchema" xmlns:xs="http://www.w3.org/2001/XMLSchema" xmlns:p="http://schemas.microsoft.com/office/2006/metadata/properties" xmlns:ns2="819cb276-62c8-40bd-90c3-99b9dd8e57e5" targetNamespace="http://schemas.microsoft.com/office/2006/metadata/properties" ma:root="true" ma:fieldsID="2bd1f46a9f4fac7657f3ce6329a7060a" ns2:_="">
    <xsd:import namespace="819cb276-62c8-40bd-90c3-99b9dd8e57e5"/>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cb276-62c8-40bd-90c3-99b9dd8e57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26884A-8D83-40CD-B638-2CDB970E22D9}">
  <ds:schemaRefs>
    <ds:schemaRef ds:uri="819cb276-62c8-40bd-90c3-99b9dd8e57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4CD7A87-D8D5-40C0-872B-A9BB7A9FA5F5}">
  <ds:schemaRefs>
    <ds:schemaRef ds:uri="819cb276-62c8-40bd-90c3-99b9dd8e57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09A7066-019E-429B-A34A-257BC07E79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30321_HELLENiQ_Master_Template</Template>
  <Application>Microsoft Office PowerPoint</Application>
  <PresentationFormat>Widescreen</PresentationFormat>
  <Slides>58</Slides>
  <Notes>58</Notes>
  <HiddenSlides>16</HiddenSlides>
  <ScaleCrop>false</ScaleCrop>
  <HeadingPairs>
    <vt:vector size="4" baseType="variant">
      <vt:variant>
        <vt:lpstr>Theme</vt:lpstr>
      </vt:variant>
      <vt:variant>
        <vt:i4>1</vt:i4>
      </vt:variant>
      <vt:variant>
        <vt:lpstr>Slide Titles</vt:lpstr>
      </vt:variant>
      <vt:variant>
        <vt:i4>58</vt:i4>
      </vt:variant>
    </vt:vector>
  </HeadingPairs>
  <TitlesOfParts>
    <vt:vector size="59" baseType="lpstr">
      <vt:lpstr>HellenIQ Master</vt:lpstr>
      <vt:lpstr>Empowering Energy  Leaders of Tomorrow</vt:lpstr>
      <vt:lpstr>PowerPoint Presentation</vt:lpstr>
      <vt:lpstr>Αgenda</vt:lpstr>
      <vt:lpstr>Εισηγητές  Δρ. Κώστας Ανδριοσόπουλος  </vt:lpstr>
      <vt:lpstr>Εισηγητές  Δρ. Σωτήρης Καπέλλος  </vt:lpstr>
      <vt:lpstr>Πώς οι πληθυσμιακές μεταβολές επηρεάζουν τον ενεργειακό τομέα</vt:lpstr>
      <vt:lpstr>Συσχέτιση μεταξύ του ΑΕΠ ανά κάτοικο και της πρωτογενούς κατανάλωσης ενέργειας παγκοσμίως, [2024]</vt:lpstr>
      <vt:lpstr>Ένας Πλανήτης Δύο Ταχυτήτων</vt:lpstr>
      <vt:lpstr>10 τάσεις που επηρεάζουν την χάραξη πολιτικής στον τομέα της ενέργειας</vt:lpstr>
      <vt:lpstr>Μετασχηματισμός της Ενεργειακής Αγοράς –  Από τα 3 στα 4D</vt:lpstr>
      <vt:lpstr>Οι υψηλές τιμές των ευρωπαϊκών δικαιωμάτων ρύπων καθιστά επιτακτική την ενεργειακή μετάβαση στην ΕΕ</vt:lpstr>
      <vt:lpstr>Ένταση εκπομπών CO₂ στην ηλεκτροπαραγωγή των κρατών-μελών της ΕΕ [2024]</vt:lpstr>
      <vt:lpstr>H Αγορά των ΑΠΕ</vt:lpstr>
      <vt:lpstr>Σύνολο Καθαρής Ηλεκτροπαραγωγής (TWh) και στόχοι Εγκατεστημένης Ισχύος (GW) για το 2030 &amp; 2050 (με βάση το ΕΣΕΚ )</vt:lpstr>
      <vt:lpstr>Βασικά σημεία και στόχοι του ΕΣΕΚ 2024: Πρόοδος και αλλαγές σε σχέση με τον ΕΣΕΚ 2019</vt:lpstr>
      <vt:lpstr>ΑΠΕ στο Ενεργειακό Μείγμα στην ΕΕ</vt:lpstr>
      <vt:lpstr>Διείσδυση των ΑΠΕ</vt:lpstr>
      <vt:lpstr>ΑΠΕ στο Ενεργειακό Μείγμα στην Ελλάδα</vt:lpstr>
      <vt:lpstr>Ραγδαία ανάπτυξη της καθαρής ηλεκτροπαραγωγής, με κυριαρχία των φωτοβολταϊκών και αιολικών</vt:lpstr>
      <vt:lpstr>Παρόλο που τα PPAs έφτασαν στο αποκορύφωμα της δημοτικότητας και του όγκου συναλλαγών το 2023, το 2024 καταγράφεται μείωση στους όγκους, αλλά όχι στις συναλλαγές</vt:lpstr>
      <vt:lpstr>Αποτύπωση της Παραγωγής Ηλεκτρικής Ενέργειας</vt:lpstr>
      <vt:lpstr>Αντιμετώπιση των περικοπών μέσω Αποθήκευσης</vt:lpstr>
      <vt:lpstr>H Αγορά της αποθήκευσης</vt:lpstr>
      <vt:lpstr> Άδειες αποθήκευσης στην Ελλάδα</vt:lpstr>
      <vt:lpstr>Τύποι Τεχνολογιών Αποθήκευσης</vt:lpstr>
      <vt:lpstr>Πτωτική Τάση στο Κόστος Επένδυσης και Συντήρησης Συστημάτων Αποθήκευσης με Μπαταρίες</vt:lpstr>
      <vt:lpstr>Πτωτική Τάση στο Κόστος Επένδυσης και Συντήρησης Συστημάτων Αποθήκευσης με Μπαταρίες</vt:lpstr>
      <vt:lpstr>Η σημασία της αποθήκευσης  Υφιστάμενο πλαίσιο Αγοράς στην Ελλάδα</vt:lpstr>
      <vt:lpstr>Η σημασία της αποθήκευσης Ανάγκη για Ενεργειακή Ευελιξία</vt:lpstr>
      <vt:lpstr>Η σημασία της αποθήκευσης Ανάγκη για Αποθήκευση μέσω μπαταριών</vt:lpstr>
      <vt:lpstr>Εφαρμογές Αποθήκευσης Ενέργειας</vt:lpstr>
      <vt:lpstr>Συμμετοχή Μπαταριών σε Ροές Εσόδων</vt:lpstr>
      <vt:lpstr>Αποτελέσματα Διαγωνισμών στην Ελλάδα</vt:lpstr>
      <vt:lpstr>Ανταγωνιστικές Διαδικασίες Αποθήκευσης</vt:lpstr>
      <vt:lpstr>Empowering Tomorrow</vt:lpstr>
      <vt:lpstr>Southeast Europe’s leading downstream Group with presence along the energy value chain</vt:lpstr>
      <vt:lpstr>Fit-for-purpose flexible corporate structure</vt:lpstr>
      <vt:lpstr>RES to grow significantly; SEE region with even higher RES growth, benefiting from conventional power phase-out and government policies</vt:lpstr>
      <vt:lpstr>RES Business Unit Overview</vt:lpstr>
      <vt:lpstr>Growth in renewables, with a disciplined investment strategy to achieve attractive, low-risk returns</vt:lpstr>
      <vt:lpstr>Renewables opportunity in the SEE region represents a green growth pillar for HELLENiQ ENERGY’s business model</vt:lpstr>
      <vt:lpstr>Νομοθετικό Πλαίσιο στην Ελλάδα</vt:lpstr>
      <vt:lpstr>Εισαγωγή δυνατότητας εγκατάστασης σταθμού ΑΠΕ με μπαταρία</vt:lpstr>
      <vt:lpstr>Εισαγωγή πλαισίου ενίσχυσης ΣΑΗΕ</vt:lpstr>
      <vt:lpstr>Βασικά σημεία εγκριτικής απόφασης ΕΕ (SA.64736 (2022/Ν) RRF Greece Financial support in favor of electricity storage facilities)</vt:lpstr>
      <vt:lpstr>Βασικά σημεία ΥΑ για χορήγηση ενίσχυσης σε ΣΑΗΕ</vt:lpstr>
      <vt:lpstr>Στοιχεία διαγωνιστικών διαδικασιών για χορήγηση ενίσχυσης</vt:lpstr>
      <vt:lpstr>Βασικά σημεία ανταγωνιστικών διαδικασιών (1/3)</vt:lpstr>
      <vt:lpstr>Βασικά σημεία ανταγωνιστικών διαδικασιών (2/3)</vt:lpstr>
      <vt:lpstr>Βασικά σημεία ανταγωνιστικών διαδικασιών (3/3)</vt:lpstr>
      <vt:lpstr>Εγγυητικές Επιστολές</vt:lpstr>
      <vt:lpstr>Μεθοδολογία αποζημίωσης ΣΑΗΕ</vt:lpstr>
      <vt:lpstr>Μεθοδολογία αποζημίωσης ΣΑΗΕ – Κίνητρα και κυρώσεις</vt:lpstr>
      <vt:lpstr>Μεθοδολογία αποζημίωσης ΣΑΗΕ</vt:lpstr>
      <vt:lpstr>Μεθοδολογία αποζημίωσης ΣΑΗΕ</vt:lpstr>
      <vt:lpstr>Μεθοδολογία αποζημίωσης ΣΑΗΕ – Κίνητρα και κυρώσεις</vt:lpstr>
      <vt:lpstr>Νομοθετικές Εξελίξεις (Νόμος 5151/2024)</vt:lpstr>
      <vt:lpstr>Ευχαριστούμε  για την προσοχή σας!</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he presentation title (for longer text – can be a maximum of three lines long)</dc:title>
  <dc:subject>PowerPoint Master</dc:subject>
  <dc:creator>Koutra Maria</dc:creator>
  <dc:description>PowerPoint template optimized for Office 2019</dc:description>
  <cp:revision>1</cp:revision>
  <cp:lastPrinted>2025-01-31T11:34:45Z</cp:lastPrinted>
  <dcterms:created xsi:type="dcterms:W3CDTF">2023-03-22T10:14:06Z</dcterms:created>
  <dcterms:modified xsi:type="dcterms:W3CDTF">2025-06-06T07:1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539E8D72A9A04C8DC4EAAAB9A8BC4C</vt:lpwstr>
  </property>
</Properties>
</file>